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1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17"/>
  </p:notesMasterIdLst>
  <p:handoutMasterIdLst>
    <p:handoutMasterId r:id="rId18"/>
  </p:handoutMasterIdLst>
  <p:sldIdLst>
    <p:sldId id="287" r:id="rId5"/>
    <p:sldId id="299" r:id="rId6"/>
    <p:sldId id="264" r:id="rId7"/>
    <p:sldId id="258" r:id="rId8"/>
    <p:sldId id="302" r:id="rId9"/>
    <p:sldId id="306" r:id="rId10"/>
    <p:sldId id="303" r:id="rId11"/>
    <p:sldId id="307" r:id="rId12"/>
    <p:sldId id="304" r:id="rId13"/>
    <p:sldId id="305" r:id="rId14"/>
    <p:sldId id="308" r:id="rId15"/>
    <p:sldId id="301" r:id="rId16"/>
  </p:sldIdLst>
  <p:sldSz cx="12192000" cy="6858000"/>
  <p:notesSz cx="6858000" cy="9144000"/>
  <p:custDataLst>
    <p:tags r:id="rId1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0430FD1-01D8-4CA4-936F-1DDDB650CBFC}" v="34" dt="2024-07-15T18:22:43.227"/>
    <p1510:client id="{F4C46313-9084-4F2D-B1FD-DD954014A3A9}" v="1" dt="2024-07-15T10:56:24.03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 varScale="1">
        <p:scale>
          <a:sx n="66" d="100"/>
          <a:sy n="66" d="100"/>
        </p:scale>
        <p:origin x="0" y="0"/>
      </p:cViewPr>
      <p:guideLst/>
    </p:cSldViewPr>
  </p:slide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euthardt, Theo" userId="7e4264da-1c37-4b3c-b317-b6cd1464c378" providerId="ADAL" clId="{F4C46313-9084-4F2D-B1FD-DD954014A3A9}"/>
    <pc:docChg chg="modSld">
      <pc:chgData name="Leuthardt, Theo" userId="7e4264da-1c37-4b3c-b317-b6cd1464c378" providerId="ADAL" clId="{F4C46313-9084-4F2D-B1FD-DD954014A3A9}" dt="2024-07-15T10:56:18.406" v="39" actId="20577"/>
      <pc:docMkLst>
        <pc:docMk/>
      </pc:docMkLst>
      <pc:sldChg chg="modSp mod">
        <pc:chgData name="Leuthardt, Theo" userId="7e4264da-1c37-4b3c-b317-b6cd1464c378" providerId="ADAL" clId="{F4C46313-9084-4F2D-B1FD-DD954014A3A9}" dt="2024-07-15T10:56:18.406" v="39" actId="20577"/>
        <pc:sldMkLst>
          <pc:docMk/>
          <pc:sldMk cId="3616856077" sldId="308"/>
        </pc:sldMkLst>
        <pc:spChg chg="mod">
          <ac:chgData name="Leuthardt, Theo" userId="7e4264da-1c37-4b3c-b317-b6cd1464c378" providerId="ADAL" clId="{F4C46313-9084-4F2D-B1FD-DD954014A3A9}" dt="2024-07-15T10:56:18.406" v="39" actId="20577"/>
          <ac:spMkLst>
            <pc:docMk/>
            <pc:sldMk cId="3616856077" sldId="308"/>
            <ac:spMk id="6" creationId="{2972672B-0DC7-4E21-AED7-23F9F9AA8194}"/>
          </ac:spMkLst>
        </pc:spChg>
      </pc:sldChg>
    </pc:docChg>
  </pc:docChgLst>
  <pc:docChgLst>
    <pc:chgData name="Theo Leuthardt" userId="3c09812dc81aead0" providerId="LiveId" clId="{F6372BB8-4709-46E5-B501-D3A66149704E}"/>
    <pc:docChg chg="undo custSel delSld modSld">
      <pc:chgData name="Theo Leuthardt" userId="3c09812dc81aead0" providerId="LiveId" clId="{F6372BB8-4709-46E5-B501-D3A66149704E}" dt="2024-07-12T10:56:03.907" v="123" actId="47"/>
      <pc:docMkLst>
        <pc:docMk/>
      </pc:docMkLst>
      <pc:sldChg chg="addSp delSp modSp del mod">
        <pc:chgData name="Theo Leuthardt" userId="3c09812dc81aead0" providerId="LiveId" clId="{F6372BB8-4709-46E5-B501-D3A66149704E}" dt="2024-07-12T10:55:53.658" v="102" actId="47"/>
        <pc:sldMkLst>
          <pc:docMk/>
          <pc:sldMk cId="2287372289" sldId="257"/>
        </pc:sldMkLst>
        <pc:spChg chg="mod">
          <ac:chgData name="Theo Leuthardt" userId="3c09812dc81aead0" providerId="LiveId" clId="{F6372BB8-4709-46E5-B501-D3A66149704E}" dt="2024-07-12T09:22:31.653" v="69"/>
          <ac:spMkLst>
            <pc:docMk/>
            <pc:sldMk cId="2287372289" sldId="257"/>
            <ac:spMk id="4" creationId="{56FE27A1-1DC4-49A0-9EBF-4021866DD016}"/>
          </ac:spMkLst>
        </pc:spChg>
        <pc:spChg chg="del">
          <ac:chgData name="Theo Leuthardt" userId="3c09812dc81aead0" providerId="LiveId" clId="{F6372BB8-4709-46E5-B501-D3A66149704E}" dt="2024-07-12T09:25:53.042" v="101" actId="478"/>
          <ac:spMkLst>
            <pc:docMk/>
            <pc:sldMk cId="2287372289" sldId="257"/>
            <ac:spMk id="14" creationId="{E1F77C21-95C9-7A4E-AFEA-AEDDBF8CA2CF}"/>
          </ac:spMkLst>
        </pc:spChg>
        <pc:spChg chg="add del">
          <ac:chgData name="Theo Leuthardt" userId="3c09812dc81aead0" providerId="LiveId" clId="{F6372BB8-4709-46E5-B501-D3A66149704E}" dt="2024-07-12T09:25:50.124" v="100" actId="478"/>
          <ac:spMkLst>
            <pc:docMk/>
            <pc:sldMk cId="2287372289" sldId="257"/>
            <ac:spMk id="20" creationId="{E85369B1-B64B-4FA0-AEAD-1FE2BB9E829C}"/>
          </ac:spMkLst>
        </pc:spChg>
      </pc:sldChg>
      <pc:sldChg chg="del">
        <pc:chgData name="Theo Leuthardt" userId="3c09812dc81aead0" providerId="LiveId" clId="{F6372BB8-4709-46E5-B501-D3A66149704E}" dt="2024-07-12T10:55:55.889" v="106" actId="47"/>
        <pc:sldMkLst>
          <pc:docMk/>
          <pc:sldMk cId="1241899138" sldId="258"/>
        </pc:sldMkLst>
      </pc:sldChg>
      <pc:sldChg chg="del">
        <pc:chgData name="Theo Leuthardt" userId="3c09812dc81aead0" providerId="LiveId" clId="{F6372BB8-4709-46E5-B501-D3A66149704E}" dt="2024-07-12T10:55:54.471" v="103" actId="47"/>
        <pc:sldMkLst>
          <pc:docMk/>
          <pc:sldMk cId="4081077615" sldId="259"/>
        </pc:sldMkLst>
      </pc:sldChg>
      <pc:sldChg chg="del">
        <pc:chgData name="Theo Leuthardt" userId="3c09812dc81aead0" providerId="LiveId" clId="{F6372BB8-4709-46E5-B501-D3A66149704E}" dt="2024-07-12T10:55:56.312" v="107" actId="47"/>
        <pc:sldMkLst>
          <pc:docMk/>
          <pc:sldMk cId="2809223504" sldId="265"/>
        </pc:sldMkLst>
      </pc:sldChg>
      <pc:sldChg chg="del">
        <pc:chgData name="Theo Leuthardt" userId="3c09812dc81aead0" providerId="LiveId" clId="{F6372BB8-4709-46E5-B501-D3A66149704E}" dt="2024-07-12T10:55:56.792" v="108" actId="47"/>
        <pc:sldMkLst>
          <pc:docMk/>
          <pc:sldMk cId="1991872832" sldId="266"/>
        </pc:sldMkLst>
      </pc:sldChg>
      <pc:sldChg chg="del">
        <pc:chgData name="Theo Leuthardt" userId="3c09812dc81aead0" providerId="LiveId" clId="{F6372BB8-4709-46E5-B501-D3A66149704E}" dt="2024-07-12T10:55:57.240" v="109" actId="47"/>
        <pc:sldMkLst>
          <pc:docMk/>
          <pc:sldMk cId="2932410959" sldId="267"/>
        </pc:sldMkLst>
      </pc:sldChg>
      <pc:sldChg chg="del">
        <pc:chgData name="Theo Leuthardt" userId="3c09812dc81aead0" providerId="LiveId" clId="{F6372BB8-4709-46E5-B501-D3A66149704E}" dt="2024-07-12T10:55:57.709" v="110" actId="47"/>
        <pc:sldMkLst>
          <pc:docMk/>
          <pc:sldMk cId="3775056410" sldId="268"/>
        </pc:sldMkLst>
      </pc:sldChg>
      <pc:sldChg chg="del">
        <pc:chgData name="Theo Leuthardt" userId="3c09812dc81aead0" providerId="LiveId" clId="{F6372BB8-4709-46E5-B501-D3A66149704E}" dt="2024-07-12T10:55:58.140" v="111" actId="47"/>
        <pc:sldMkLst>
          <pc:docMk/>
          <pc:sldMk cId="2535339116" sldId="269"/>
        </pc:sldMkLst>
      </pc:sldChg>
      <pc:sldChg chg="del">
        <pc:chgData name="Theo Leuthardt" userId="3c09812dc81aead0" providerId="LiveId" clId="{F6372BB8-4709-46E5-B501-D3A66149704E}" dt="2024-07-12T10:55:58.634" v="112" actId="47"/>
        <pc:sldMkLst>
          <pc:docMk/>
          <pc:sldMk cId="973476213" sldId="270"/>
        </pc:sldMkLst>
      </pc:sldChg>
      <pc:sldChg chg="del">
        <pc:chgData name="Theo Leuthardt" userId="3c09812dc81aead0" providerId="LiveId" clId="{F6372BB8-4709-46E5-B501-D3A66149704E}" dt="2024-07-12T10:55:59.074" v="113" actId="47"/>
        <pc:sldMkLst>
          <pc:docMk/>
          <pc:sldMk cId="1517112453" sldId="271"/>
        </pc:sldMkLst>
      </pc:sldChg>
      <pc:sldChg chg="del">
        <pc:chgData name="Theo Leuthardt" userId="3c09812dc81aead0" providerId="LiveId" clId="{F6372BB8-4709-46E5-B501-D3A66149704E}" dt="2024-07-12T10:55:59.937" v="114" actId="47"/>
        <pc:sldMkLst>
          <pc:docMk/>
          <pc:sldMk cId="2034460764" sldId="272"/>
        </pc:sldMkLst>
      </pc:sldChg>
      <pc:sldChg chg="del">
        <pc:chgData name="Theo Leuthardt" userId="3c09812dc81aead0" providerId="LiveId" clId="{F6372BB8-4709-46E5-B501-D3A66149704E}" dt="2024-07-12T10:56:00.366" v="115" actId="47"/>
        <pc:sldMkLst>
          <pc:docMk/>
          <pc:sldMk cId="2678273443" sldId="273"/>
        </pc:sldMkLst>
      </pc:sldChg>
      <pc:sldChg chg="del">
        <pc:chgData name="Theo Leuthardt" userId="3c09812dc81aead0" providerId="LiveId" clId="{F6372BB8-4709-46E5-B501-D3A66149704E}" dt="2024-07-12T10:56:00.844" v="116" actId="47"/>
        <pc:sldMkLst>
          <pc:docMk/>
          <pc:sldMk cId="944439246" sldId="274"/>
        </pc:sldMkLst>
      </pc:sldChg>
      <pc:sldChg chg="del">
        <pc:chgData name="Theo Leuthardt" userId="3c09812dc81aead0" providerId="LiveId" clId="{F6372BB8-4709-46E5-B501-D3A66149704E}" dt="2024-07-12T10:56:02.527" v="120" actId="47"/>
        <pc:sldMkLst>
          <pc:docMk/>
          <pc:sldMk cId="2897336838" sldId="275"/>
        </pc:sldMkLst>
      </pc:sldChg>
      <pc:sldChg chg="del">
        <pc:chgData name="Theo Leuthardt" userId="3c09812dc81aead0" providerId="LiveId" clId="{F6372BB8-4709-46E5-B501-D3A66149704E}" dt="2024-07-12T10:56:03.435" v="122" actId="47"/>
        <pc:sldMkLst>
          <pc:docMk/>
          <pc:sldMk cId="824506015" sldId="276"/>
        </pc:sldMkLst>
      </pc:sldChg>
      <pc:sldChg chg="del">
        <pc:chgData name="Theo Leuthardt" userId="3c09812dc81aead0" providerId="LiveId" clId="{F6372BB8-4709-46E5-B501-D3A66149704E}" dt="2024-07-12T10:56:03.907" v="123" actId="47"/>
        <pc:sldMkLst>
          <pc:docMk/>
          <pc:sldMk cId="4119180571" sldId="277"/>
        </pc:sldMkLst>
      </pc:sldChg>
      <pc:sldChg chg="del">
        <pc:chgData name="Theo Leuthardt" userId="3c09812dc81aead0" providerId="LiveId" clId="{F6372BB8-4709-46E5-B501-D3A66149704E}" dt="2024-07-12T10:56:01.715" v="118" actId="47"/>
        <pc:sldMkLst>
          <pc:docMk/>
          <pc:sldMk cId="1195400720" sldId="280"/>
        </pc:sldMkLst>
      </pc:sldChg>
      <pc:sldChg chg="del">
        <pc:chgData name="Theo Leuthardt" userId="3c09812dc81aead0" providerId="LiveId" clId="{F6372BB8-4709-46E5-B501-D3A66149704E}" dt="2024-07-12T10:56:02.125" v="119" actId="47"/>
        <pc:sldMkLst>
          <pc:docMk/>
          <pc:sldMk cId="2112196746" sldId="281"/>
        </pc:sldMkLst>
      </pc:sldChg>
      <pc:sldChg chg="del">
        <pc:chgData name="Theo Leuthardt" userId="3c09812dc81aead0" providerId="LiveId" clId="{F6372BB8-4709-46E5-B501-D3A66149704E}" dt="2024-07-12T10:55:55.437" v="105" actId="47"/>
        <pc:sldMkLst>
          <pc:docMk/>
          <pc:sldMk cId="4250523609" sldId="282"/>
        </pc:sldMkLst>
      </pc:sldChg>
      <pc:sldChg chg="addSp delSp modSp mod">
        <pc:chgData name="Theo Leuthardt" userId="3c09812dc81aead0" providerId="LiveId" clId="{F6372BB8-4709-46E5-B501-D3A66149704E}" dt="2024-07-12T09:23:39.743" v="98" actId="20577"/>
        <pc:sldMkLst>
          <pc:docMk/>
          <pc:sldMk cId="1282874120" sldId="287"/>
        </pc:sldMkLst>
        <pc:spChg chg="del">
          <ac:chgData name="Theo Leuthardt" userId="3c09812dc81aead0" providerId="LiveId" clId="{F6372BB8-4709-46E5-B501-D3A66149704E}" dt="2024-07-12T09:22:59.901" v="70" actId="478"/>
          <ac:spMkLst>
            <pc:docMk/>
            <pc:sldMk cId="1282874120" sldId="287"/>
            <ac:spMk id="2" creationId="{464BEC0C-785B-4DF3-908E-BBD4C9D2F8C0}"/>
          </ac:spMkLst>
        </pc:spChg>
        <pc:spChg chg="add del mod">
          <ac:chgData name="Theo Leuthardt" userId="3c09812dc81aead0" providerId="LiveId" clId="{F6372BB8-4709-46E5-B501-D3A66149704E}" dt="2024-07-12T09:23:02.074" v="71" actId="478"/>
          <ac:spMkLst>
            <pc:docMk/>
            <pc:sldMk cId="1282874120" sldId="287"/>
            <ac:spMk id="5" creationId="{BECBCCA2-00F7-4CB1-4A74-AEB5A54B7103}"/>
          </ac:spMkLst>
        </pc:spChg>
        <pc:spChg chg="mod">
          <ac:chgData name="Theo Leuthardt" userId="3c09812dc81aead0" providerId="LiveId" clId="{F6372BB8-4709-46E5-B501-D3A66149704E}" dt="2024-07-12T09:23:39.743" v="98" actId="20577"/>
          <ac:spMkLst>
            <pc:docMk/>
            <pc:sldMk cId="1282874120" sldId="287"/>
            <ac:spMk id="8" creationId="{325EB2FD-0CAD-44F0-A364-0E34A7D7EC5C}"/>
          </ac:spMkLst>
        </pc:spChg>
      </pc:sldChg>
      <pc:sldChg chg="del">
        <pc:chgData name="Theo Leuthardt" userId="3c09812dc81aead0" providerId="LiveId" clId="{F6372BB8-4709-46E5-B501-D3A66149704E}" dt="2024-07-12T10:56:01.267" v="117" actId="47"/>
        <pc:sldMkLst>
          <pc:docMk/>
          <pc:sldMk cId="4179304137" sldId="292"/>
        </pc:sldMkLst>
      </pc:sldChg>
      <pc:sldChg chg="del">
        <pc:chgData name="Theo Leuthardt" userId="3c09812dc81aead0" providerId="LiveId" clId="{F6372BB8-4709-46E5-B501-D3A66149704E}" dt="2024-07-12T10:56:02.950" v="121" actId="47"/>
        <pc:sldMkLst>
          <pc:docMk/>
          <pc:sldMk cId="2420727623" sldId="293"/>
        </pc:sldMkLst>
      </pc:sldChg>
      <pc:sldChg chg="modSp mod">
        <pc:chgData name="Theo Leuthardt" userId="3c09812dc81aead0" providerId="LiveId" clId="{F6372BB8-4709-46E5-B501-D3A66149704E}" dt="2024-07-12T09:22:15.469" v="67" actId="20577"/>
        <pc:sldMkLst>
          <pc:docMk/>
          <pc:sldMk cId="1504439876" sldId="299"/>
        </pc:sldMkLst>
        <pc:spChg chg="mod">
          <ac:chgData name="Theo Leuthardt" userId="3c09812dc81aead0" providerId="LiveId" clId="{F6372BB8-4709-46E5-B501-D3A66149704E}" dt="2024-07-12T09:22:15.469" v="67" actId="20577"/>
          <ac:spMkLst>
            <pc:docMk/>
            <pc:sldMk cId="1504439876" sldId="299"/>
            <ac:spMk id="3" creationId="{6C9FD22D-07A0-44C0-BF37-0B36D0DEBDAF}"/>
          </ac:spMkLst>
        </pc:spChg>
      </pc:sldChg>
      <pc:sldChg chg="del">
        <pc:chgData name="Theo Leuthardt" userId="3c09812dc81aead0" providerId="LiveId" clId="{F6372BB8-4709-46E5-B501-D3A66149704E}" dt="2024-07-12T10:55:54.965" v="104" actId="47"/>
        <pc:sldMkLst>
          <pc:docMk/>
          <pc:sldMk cId="2939584380" sldId="300"/>
        </pc:sldMkLst>
      </pc:sldChg>
    </pc:docChg>
  </pc:docChgLst>
  <pc:docChgLst>
    <pc:chgData name="Theo Leuthardt" userId="3c09812dc81aead0" providerId="LiveId" clId="{00430FD1-01D8-4CA4-936F-1DDDB650CBFC}"/>
    <pc:docChg chg="undo custSel addSld modSld">
      <pc:chgData name="Theo Leuthardt" userId="3c09812dc81aead0" providerId="LiveId" clId="{00430FD1-01D8-4CA4-936F-1DDDB650CBFC}" dt="2024-07-15T18:23:51.834" v="2239" actId="1076"/>
      <pc:docMkLst>
        <pc:docMk/>
      </pc:docMkLst>
      <pc:sldChg chg="addSp delSp modSp add mod">
        <pc:chgData name="Theo Leuthardt" userId="3c09812dc81aead0" providerId="LiveId" clId="{00430FD1-01D8-4CA4-936F-1DDDB650CBFC}" dt="2024-07-15T09:35:13.394" v="1885" actId="1076"/>
        <pc:sldMkLst>
          <pc:docMk/>
          <pc:sldMk cId="1241899138" sldId="258"/>
        </pc:sldMkLst>
        <pc:spChg chg="mod">
          <ac:chgData name="Theo Leuthardt" userId="3c09812dc81aead0" providerId="LiveId" clId="{00430FD1-01D8-4CA4-936F-1DDDB650CBFC}" dt="2024-07-15T07:45:11.461" v="373" actId="20577"/>
          <ac:spMkLst>
            <pc:docMk/>
            <pc:sldMk cId="1241899138" sldId="258"/>
            <ac:spMk id="2" creationId="{C27CC909-7103-480C-9257-B1E7EBFE3E07}"/>
          </ac:spMkLst>
        </pc:spChg>
        <pc:spChg chg="mod">
          <ac:chgData name="Theo Leuthardt" userId="3c09812dc81aead0" providerId="LiveId" clId="{00430FD1-01D8-4CA4-936F-1DDDB650CBFC}" dt="2024-07-15T07:45:04.597" v="366"/>
          <ac:spMkLst>
            <pc:docMk/>
            <pc:sldMk cId="1241899138" sldId="258"/>
            <ac:spMk id="4" creationId="{56FE27A1-1DC4-49A0-9EBF-4021866DD016}"/>
          </ac:spMkLst>
        </pc:spChg>
        <pc:spChg chg="mod">
          <ac:chgData name="Theo Leuthardt" userId="3c09812dc81aead0" providerId="LiveId" clId="{00430FD1-01D8-4CA4-936F-1DDDB650CBFC}" dt="2024-07-15T07:45:40.957" v="427" actId="20577"/>
          <ac:spMkLst>
            <pc:docMk/>
            <pc:sldMk cId="1241899138" sldId="258"/>
            <ac:spMk id="5" creationId="{CEBE327A-450A-4631-920C-80A1F0E4D3F5}"/>
          </ac:spMkLst>
        </pc:spChg>
        <pc:spChg chg="mod">
          <ac:chgData name="Theo Leuthardt" userId="3c09812dc81aead0" providerId="LiveId" clId="{00430FD1-01D8-4CA4-936F-1DDDB650CBFC}" dt="2024-07-15T09:18:19.865" v="1729" actId="20577"/>
          <ac:spMkLst>
            <pc:docMk/>
            <pc:sldMk cId="1241899138" sldId="258"/>
            <ac:spMk id="6" creationId="{2972672B-0DC7-4E21-AED7-23F9F9AA8194}"/>
          </ac:spMkLst>
        </pc:spChg>
        <pc:spChg chg="add del mod">
          <ac:chgData name="Theo Leuthardt" userId="3c09812dc81aead0" providerId="LiveId" clId="{00430FD1-01D8-4CA4-936F-1DDDB650CBFC}" dt="2024-07-15T07:45:44.630" v="429" actId="478"/>
          <ac:spMkLst>
            <pc:docMk/>
            <pc:sldMk cId="1241899138" sldId="258"/>
            <ac:spMk id="8" creationId="{660E2841-19D4-C883-A1A9-A8114E0FCC04}"/>
          </ac:spMkLst>
        </pc:spChg>
        <pc:spChg chg="del mod">
          <ac:chgData name="Theo Leuthardt" userId="3c09812dc81aead0" providerId="LiveId" clId="{00430FD1-01D8-4CA4-936F-1DDDB650CBFC}" dt="2024-07-15T07:45:47.930" v="432" actId="478"/>
          <ac:spMkLst>
            <pc:docMk/>
            <pc:sldMk cId="1241899138" sldId="258"/>
            <ac:spMk id="18" creationId="{F6204001-E60A-DAA0-8DE6-51CC55D3FF93}"/>
          </ac:spMkLst>
        </pc:spChg>
        <pc:spChg chg="add mod">
          <ac:chgData name="Theo Leuthardt" userId="3c09812dc81aead0" providerId="LiveId" clId="{00430FD1-01D8-4CA4-936F-1DDDB650CBFC}" dt="2024-07-15T09:31:49.018" v="1792" actId="20577"/>
          <ac:spMkLst>
            <pc:docMk/>
            <pc:sldMk cId="1241899138" sldId="258"/>
            <ac:spMk id="27" creationId="{F07E2A62-7621-9F18-7CCE-BE116B642AA9}"/>
          </ac:spMkLst>
        </pc:spChg>
        <pc:spChg chg="add mod">
          <ac:chgData name="Theo Leuthardt" userId="3c09812dc81aead0" providerId="LiveId" clId="{00430FD1-01D8-4CA4-936F-1DDDB650CBFC}" dt="2024-07-15T09:32:41.855" v="1802" actId="1076"/>
          <ac:spMkLst>
            <pc:docMk/>
            <pc:sldMk cId="1241899138" sldId="258"/>
            <ac:spMk id="28" creationId="{EE89A9B3-3B47-F142-A3EF-586C704046F5}"/>
          </ac:spMkLst>
        </pc:spChg>
        <pc:spChg chg="add mod">
          <ac:chgData name="Theo Leuthardt" userId="3c09812dc81aead0" providerId="LiveId" clId="{00430FD1-01D8-4CA4-936F-1DDDB650CBFC}" dt="2024-07-15T09:35:13.394" v="1885" actId="1076"/>
          <ac:spMkLst>
            <pc:docMk/>
            <pc:sldMk cId="1241899138" sldId="258"/>
            <ac:spMk id="29" creationId="{F7994CA1-07D7-F2CD-6A53-71EFF77474DD}"/>
          </ac:spMkLst>
        </pc:spChg>
        <pc:spChg chg="add mod">
          <ac:chgData name="Theo Leuthardt" userId="3c09812dc81aead0" providerId="LiveId" clId="{00430FD1-01D8-4CA4-936F-1DDDB650CBFC}" dt="2024-07-15T09:35:13.394" v="1885" actId="1076"/>
          <ac:spMkLst>
            <pc:docMk/>
            <pc:sldMk cId="1241899138" sldId="258"/>
            <ac:spMk id="30" creationId="{70CD9A8C-1235-6D68-BCE2-72048738FDDB}"/>
          </ac:spMkLst>
        </pc:spChg>
        <pc:picChg chg="add mod">
          <ac:chgData name="Theo Leuthardt" userId="3c09812dc81aead0" providerId="LiveId" clId="{00430FD1-01D8-4CA4-936F-1DDDB650CBFC}" dt="2024-07-15T09:30:35.644" v="1761" actId="1076"/>
          <ac:picMkLst>
            <pc:docMk/>
            <pc:sldMk cId="1241899138" sldId="258"/>
            <ac:picMk id="12" creationId="{FEDA6293-D11A-88F4-74FD-830A03CC23EB}"/>
          </ac:picMkLst>
        </pc:picChg>
        <pc:picChg chg="add del mod modCrop">
          <ac:chgData name="Theo Leuthardt" userId="3c09812dc81aead0" providerId="LiveId" clId="{00430FD1-01D8-4CA4-936F-1DDDB650CBFC}" dt="2024-07-15T09:16:14.036" v="1710" actId="478"/>
          <ac:picMkLst>
            <pc:docMk/>
            <pc:sldMk cId="1241899138" sldId="258"/>
            <ac:picMk id="15" creationId="{77796998-A53D-84A3-DD57-E426B07B636A}"/>
          </ac:picMkLst>
        </pc:picChg>
        <pc:picChg chg="del">
          <ac:chgData name="Theo Leuthardt" userId="3c09812dc81aead0" providerId="LiveId" clId="{00430FD1-01D8-4CA4-936F-1DDDB650CBFC}" dt="2024-07-15T07:45:43.637" v="428" actId="478"/>
          <ac:picMkLst>
            <pc:docMk/>
            <pc:sldMk cId="1241899138" sldId="258"/>
            <ac:picMk id="16" creationId="{F2C55D27-DDA1-EFE4-3B99-631A9946E80F}"/>
          </ac:picMkLst>
        </pc:picChg>
        <pc:picChg chg="del">
          <ac:chgData name="Theo Leuthardt" userId="3c09812dc81aead0" providerId="LiveId" clId="{00430FD1-01D8-4CA4-936F-1DDDB650CBFC}" dt="2024-07-15T07:45:45.236" v="430" actId="478"/>
          <ac:picMkLst>
            <pc:docMk/>
            <pc:sldMk cId="1241899138" sldId="258"/>
            <ac:picMk id="17" creationId="{AF217771-499B-75D3-B775-F46003983E56}"/>
          </ac:picMkLst>
        </pc:picChg>
        <pc:picChg chg="add del mod">
          <ac:chgData name="Theo Leuthardt" userId="3c09812dc81aead0" providerId="LiveId" clId="{00430FD1-01D8-4CA4-936F-1DDDB650CBFC}" dt="2024-07-15T09:15:47.931" v="1707" actId="478"/>
          <ac:picMkLst>
            <pc:docMk/>
            <pc:sldMk cId="1241899138" sldId="258"/>
            <ac:picMk id="20" creationId="{EB73EF28-784A-154E-7BAC-42FAA4BD9E9D}"/>
          </ac:picMkLst>
        </pc:picChg>
        <pc:picChg chg="add mod">
          <ac:chgData name="Theo Leuthardt" userId="3c09812dc81aead0" providerId="LiveId" clId="{00430FD1-01D8-4CA4-936F-1DDDB650CBFC}" dt="2024-07-15T09:29:55.734" v="1752" actId="1076"/>
          <ac:picMkLst>
            <pc:docMk/>
            <pc:sldMk cId="1241899138" sldId="258"/>
            <ac:picMk id="22" creationId="{04C53F2E-F6D2-3FCF-0D6B-C79D74EA4D0F}"/>
          </ac:picMkLst>
        </pc:picChg>
        <pc:picChg chg="add mod">
          <ac:chgData name="Theo Leuthardt" userId="3c09812dc81aead0" providerId="LiveId" clId="{00430FD1-01D8-4CA4-936F-1DDDB650CBFC}" dt="2024-07-15T09:35:13.394" v="1885" actId="1076"/>
          <ac:picMkLst>
            <pc:docMk/>
            <pc:sldMk cId="1241899138" sldId="258"/>
            <ac:picMk id="24" creationId="{5368B1F0-1283-4FA3-D550-3E974D382B86}"/>
          </ac:picMkLst>
        </pc:picChg>
        <pc:picChg chg="add mod">
          <ac:chgData name="Theo Leuthardt" userId="3c09812dc81aead0" providerId="LiveId" clId="{00430FD1-01D8-4CA4-936F-1DDDB650CBFC}" dt="2024-07-15T09:35:13.394" v="1885" actId="1076"/>
          <ac:picMkLst>
            <pc:docMk/>
            <pc:sldMk cId="1241899138" sldId="258"/>
            <ac:picMk id="26" creationId="{BBC67147-618E-EE3A-CE08-37E3A389B4DB}"/>
          </ac:picMkLst>
        </pc:picChg>
      </pc:sldChg>
      <pc:sldChg chg="delSp modSp mod">
        <pc:chgData name="Theo Leuthardt" userId="3c09812dc81aead0" providerId="LiveId" clId="{00430FD1-01D8-4CA4-936F-1DDDB650CBFC}" dt="2024-07-15T07:28:30.396" v="183" actId="478"/>
        <pc:sldMkLst>
          <pc:docMk/>
          <pc:sldMk cId="3259232850" sldId="264"/>
        </pc:sldMkLst>
        <pc:spChg chg="mod">
          <ac:chgData name="Theo Leuthardt" userId="3c09812dc81aead0" providerId="LiveId" clId="{00430FD1-01D8-4CA4-936F-1DDDB650CBFC}" dt="2024-07-15T07:25:53.579" v="170" actId="20577"/>
          <ac:spMkLst>
            <pc:docMk/>
            <pc:sldMk cId="3259232850" sldId="264"/>
            <ac:spMk id="2" creationId="{6D5151E6-97E0-4BE7-ACCA-C5EDC9DBE831}"/>
          </ac:spMkLst>
        </pc:spChg>
        <pc:spChg chg="del mod">
          <ac:chgData name="Theo Leuthardt" userId="3c09812dc81aead0" providerId="LiveId" clId="{00430FD1-01D8-4CA4-936F-1DDDB650CBFC}" dt="2024-07-15T07:28:30.396" v="183" actId="478"/>
          <ac:spMkLst>
            <pc:docMk/>
            <pc:sldMk cId="3259232850" sldId="264"/>
            <ac:spMk id="3" creationId="{680AB932-043D-4D93-A31B-FD0ED41BCD18}"/>
          </ac:spMkLst>
        </pc:spChg>
      </pc:sldChg>
      <pc:sldChg chg="modSp mod">
        <pc:chgData name="Theo Leuthardt" userId="3c09812dc81aead0" providerId="LiveId" clId="{00430FD1-01D8-4CA4-936F-1DDDB650CBFC}" dt="2024-07-15T08:13:18.412" v="1173" actId="20577"/>
        <pc:sldMkLst>
          <pc:docMk/>
          <pc:sldMk cId="1504439876" sldId="299"/>
        </pc:sldMkLst>
        <pc:spChg chg="mod">
          <ac:chgData name="Theo Leuthardt" userId="3c09812dc81aead0" providerId="LiveId" clId="{00430FD1-01D8-4CA4-936F-1DDDB650CBFC}" dt="2024-07-15T07:13:19.420" v="9" actId="20577"/>
          <ac:spMkLst>
            <pc:docMk/>
            <pc:sldMk cId="1504439876" sldId="299"/>
            <ac:spMk id="2" creationId="{55A1C42B-E816-46D0-8A69-7B61FF00561C}"/>
          </ac:spMkLst>
        </pc:spChg>
        <pc:spChg chg="mod">
          <ac:chgData name="Theo Leuthardt" userId="3c09812dc81aead0" providerId="LiveId" clId="{00430FD1-01D8-4CA4-936F-1DDDB650CBFC}" dt="2024-07-15T08:13:18.412" v="1173" actId="20577"/>
          <ac:spMkLst>
            <pc:docMk/>
            <pc:sldMk cId="1504439876" sldId="299"/>
            <ac:spMk id="4" creationId="{57E70388-9E2C-426E-9FF9-534BE84EAF86}"/>
          </ac:spMkLst>
        </pc:spChg>
      </pc:sldChg>
      <pc:sldChg chg="addSp delSp modSp add mod">
        <pc:chgData name="Theo Leuthardt" userId="3c09812dc81aead0" providerId="LiveId" clId="{00430FD1-01D8-4CA4-936F-1DDDB650CBFC}" dt="2024-07-15T08:13:09.208" v="1155" actId="20577"/>
        <pc:sldMkLst>
          <pc:docMk/>
          <pc:sldMk cId="1262604752" sldId="302"/>
        </pc:sldMkLst>
        <pc:spChg chg="mod">
          <ac:chgData name="Theo Leuthardt" userId="3c09812dc81aead0" providerId="LiveId" clId="{00430FD1-01D8-4CA4-936F-1DDDB650CBFC}" dt="2024-07-15T08:13:09.208" v="1155" actId="20577"/>
          <ac:spMkLst>
            <pc:docMk/>
            <pc:sldMk cId="1262604752" sldId="302"/>
            <ac:spMk id="2" creationId="{6D5151E6-97E0-4BE7-ACCA-C5EDC9DBE831}"/>
          </ac:spMkLst>
        </pc:spChg>
        <pc:spChg chg="del">
          <ac:chgData name="Theo Leuthardt" userId="3c09812dc81aead0" providerId="LiveId" clId="{00430FD1-01D8-4CA4-936F-1DDDB650CBFC}" dt="2024-07-15T07:43:28.589" v="300" actId="478"/>
          <ac:spMkLst>
            <pc:docMk/>
            <pc:sldMk cId="1262604752" sldId="302"/>
            <ac:spMk id="3" creationId="{680AB932-043D-4D93-A31B-FD0ED41BCD18}"/>
          </ac:spMkLst>
        </pc:spChg>
        <pc:spChg chg="add del mod">
          <ac:chgData name="Theo Leuthardt" userId="3c09812dc81aead0" providerId="LiveId" clId="{00430FD1-01D8-4CA4-936F-1DDDB650CBFC}" dt="2024-07-15T07:43:31.505" v="301" actId="478"/>
          <ac:spMkLst>
            <pc:docMk/>
            <pc:sldMk cId="1262604752" sldId="302"/>
            <ac:spMk id="6" creationId="{4BC4BEE7-2EAE-D64E-8DCA-9299C118C7A3}"/>
          </ac:spMkLst>
        </pc:spChg>
      </pc:sldChg>
      <pc:sldChg chg="addSp delSp modSp add mod">
        <pc:chgData name="Theo Leuthardt" userId="3c09812dc81aead0" providerId="LiveId" clId="{00430FD1-01D8-4CA4-936F-1DDDB650CBFC}" dt="2024-07-15T07:44:31.662" v="364" actId="478"/>
        <pc:sldMkLst>
          <pc:docMk/>
          <pc:sldMk cId="1489331982" sldId="303"/>
        </pc:sldMkLst>
        <pc:spChg chg="mod">
          <ac:chgData name="Theo Leuthardt" userId="3c09812dc81aead0" providerId="LiveId" clId="{00430FD1-01D8-4CA4-936F-1DDDB650CBFC}" dt="2024-07-15T07:44:25.479" v="362" actId="20577"/>
          <ac:spMkLst>
            <pc:docMk/>
            <pc:sldMk cId="1489331982" sldId="303"/>
            <ac:spMk id="2" creationId="{6D5151E6-97E0-4BE7-ACCA-C5EDC9DBE831}"/>
          </ac:spMkLst>
        </pc:spChg>
        <pc:spChg chg="del">
          <ac:chgData name="Theo Leuthardt" userId="3c09812dc81aead0" providerId="LiveId" clId="{00430FD1-01D8-4CA4-936F-1DDDB650CBFC}" dt="2024-07-15T07:44:28.306" v="363" actId="478"/>
          <ac:spMkLst>
            <pc:docMk/>
            <pc:sldMk cId="1489331982" sldId="303"/>
            <ac:spMk id="3" creationId="{680AB932-043D-4D93-A31B-FD0ED41BCD18}"/>
          </ac:spMkLst>
        </pc:spChg>
        <pc:spChg chg="add del mod">
          <ac:chgData name="Theo Leuthardt" userId="3c09812dc81aead0" providerId="LiveId" clId="{00430FD1-01D8-4CA4-936F-1DDDB650CBFC}" dt="2024-07-15T07:44:31.662" v="364" actId="478"/>
          <ac:spMkLst>
            <pc:docMk/>
            <pc:sldMk cId="1489331982" sldId="303"/>
            <ac:spMk id="6" creationId="{460E5EFF-DB4D-DC41-CB83-F06C8AD150C0}"/>
          </ac:spMkLst>
        </pc:spChg>
      </pc:sldChg>
      <pc:sldChg chg="addSp delSp modSp add mod">
        <pc:chgData name="Theo Leuthardt" userId="3c09812dc81aead0" providerId="LiveId" clId="{00430FD1-01D8-4CA4-936F-1DDDB650CBFC}" dt="2024-07-15T07:29:41.091" v="252" actId="478"/>
        <pc:sldMkLst>
          <pc:docMk/>
          <pc:sldMk cId="1926469749" sldId="304"/>
        </pc:sldMkLst>
        <pc:spChg chg="mod">
          <ac:chgData name="Theo Leuthardt" userId="3c09812dc81aead0" providerId="LiveId" clId="{00430FD1-01D8-4CA4-936F-1DDDB650CBFC}" dt="2024-07-15T07:29:15.923" v="231" actId="20577"/>
          <ac:spMkLst>
            <pc:docMk/>
            <pc:sldMk cId="1926469749" sldId="304"/>
            <ac:spMk id="2" creationId="{6D5151E6-97E0-4BE7-ACCA-C5EDC9DBE831}"/>
          </ac:spMkLst>
        </pc:spChg>
        <pc:spChg chg="del">
          <ac:chgData name="Theo Leuthardt" userId="3c09812dc81aead0" providerId="LiveId" clId="{00430FD1-01D8-4CA4-936F-1DDDB650CBFC}" dt="2024-07-15T07:29:38.282" v="251" actId="478"/>
          <ac:spMkLst>
            <pc:docMk/>
            <pc:sldMk cId="1926469749" sldId="304"/>
            <ac:spMk id="3" creationId="{680AB932-043D-4D93-A31B-FD0ED41BCD18}"/>
          </ac:spMkLst>
        </pc:spChg>
        <pc:spChg chg="add del mod">
          <ac:chgData name="Theo Leuthardt" userId="3c09812dc81aead0" providerId="LiveId" clId="{00430FD1-01D8-4CA4-936F-1DDDB650CBFC}" dt="2024-07-15T07:29:41.091" v="252" actId="478"/>
          <ac:spMkLst>
            <pc:docMk/>
            <pc:sldMk cId="1926469749" sldId="304"/>
            <ac:spMk id="6" creationId="{CA44977F-D887-2B98-1274-8414B24CA4FD}"/>
          </ac:spMkLst>
        </pc:spChg>
      </pc:sldChg>
      <pc:sldChg chg="addSp delSp modSp add mod">
        <pc:chgData name="Theo Leuthardt" userId="3c09812dc81aead0" providerId="LiveId" clId="{00430FD1-01D8-4CA4-936F-1DDDB650CBFC}" dt="2024-07-15T07:29:47.510" v="254" actId="478"/>
        <pc:sldMkLst>
          <pc:docMk/>
          <pc:sldMk cId="2184772105" sldId="305"/>
        </pc:sldMkLst>
        <pc:spChg chg="mod">
          <ac:chgData name="Theo Leuthardt" userId="3c09812dc81aead0" providerId="LiveId" clId="{00430FD1-01D8-4CA4-936F-1DDDB650CBFC}" dt="2024-07-15T07:29:31.231" v="250" actId="20577"/>
          <ac:spMkLst>
            <pc:docMk/>
            <pc:sldMk cId="2184772105" sldId="305"/>
            <ac:spMk id="2" creationId="{6D5151E6-97E0-4BE7-ACCA-C5EDC9DBE831}"/>
          </ac:spMkLst>
        </pc:spChg>
        <pc:spChg chg="del">
          <ac:chgData name="Theo Leuthardt" userId="3c09812dc81aead0" providerId="LiveId" clId="{00430FD1-01D8-4CA4-936F-1DDDB650CBFC}" dt="2024-07-15T07:29:45.045" v="253" actId="478"/>
          <ac:spMkLst>
            <pc:docMk/>
            <pc:sldMk cId="2184772105" sldId="305"/>
            <ac:spMk id="3" creationId="{680AB932-043D-4D93-A31B-FD0ED41BCD18}"/>
          </ac:spMkLst>
        </pc:spChg>
        <pc:spChg chg="add del mod">
          <ac:chgData name="Theo Leuthardt" userId="3c09812dc81aead0" providerId="LiveId" clId="{00430FD1-01D8-4CA4-936F-1DDDB650CBFC}" dt="2024-07-15T07:29:47.510" v="254" actId="478"/>
          <ac:spMkLst>
            <pc:docMk/>
            <pc:sldMk cId="2184772105" sldId="305"/>
            <ac:spMk id="6" creationId="{0F837AF8-2385-A1EC-92EF-071998469352}"/>
          </ac:spMkLst>
        </pc:spChg>
      </pc:sldChg>
      <pc:sldChg chg="addSp delSp modSp add mod">
        <pc:chgData name="Theo Leuthardt" userId="3c09812dc81aead0" providerId="LiveId" clId="{00430FD1-01D8-4CA4-936F-1DDDB650CBFC}" dt="2024-07-15T08:34:05.814" v="1290"/>
        <pc:sldMkLst>
          <pc:docMk/>
          <pc:sldMk cId="767983511" sldId="306"/>
        </pc:sldMkLst>
        <pc:spChg chg="mod">
          <ac:chgData name="Theo Leuthardt" userId="3c09812dc81aead0" providerId="LiveId" clId="{00430FD1-01D8-4CA4-936F-1DDDB650CBFC}" dt="2024-07-15T08:12:59.703" v="1136" actId="20577"/>
          <ac:spMkLst>
            <pc:docMk/>
            <pc:sldMk cId="767983511" sldId="306"/>
            <ac:spMk id="2" creationId="{C27CC909-7103-480C-9257-B1E7EBFE3E07}"/>
          </ac:spMkLst>
        </pc:spChg>
        <pc:spChg chg="mod">
          <ac:chgData name="Theo Leuthardt" userId="3c09812dc81aead0" providerId="LiveId" clId="{00430FD1-01D8-4CA4-936F-1DDDB650CBFC}" dt="2024-07-15T08:34:05.814" v="1290"/>
          <ac:spMkLst>
            <pc:docMk/>
            <pc:sldMk cId="767983511" sldId="306"/>
            <ac:spMk id="4" creationId="{56FE27A1-1DC4-49A0-9EBF-4021866DD016}"/>
          </ac:spMkLst>
        </pc:spChg>
        <pc:spChg chg="mod">
          <ac:chgData name="Theo Leuthardt" userId="3c09812dc81aead0" providerId="LiveId" clId="{00430FD1-01D8-4CA4-936F-1DDDB650CBFC}" dt="2024-07-15T08:32:16.013" v="1287" actId="1076"/>
          <ac:spMkLst>
            <pc:docMk/>
            <pc:sldMk cId="767983511" sldId="306"/>
            <ac:spMk id="5" creationId="{CEBE327A-450A-4631-920C-80A1F0E4D3F5}"/>
          </ac:spMkLst>
        </pc:spChg>
        <pc:spChg chg="add mod">
          <ac:chgData name="Theo Leuthardt" userId="3c09812dc81aead0" providerId="LiveId" clId="{00430FD1-01D8-4CA4-936F-1DDDB650CBFC}" dt="2024-07-15T08:32:30.093" v="1288" actId="1076"/>
          <ac:spMkLst>
            <pc:docMk/>
            <pc:sldMk cId="767983511" sldId="306"/>
            <ac:spMk id="19" creationId="{8EEB4E53-2381-7BC7-9773-ECA4DC4AD762}"/>
          </ac:spMkLst>
        </pc:spChg>
        <pc:spChg chg="mod">
          <ac:chgData name="Theo Leuthardt" userId="3c09812dc81aead0" providerId="LiveId" clId="{00430FD1-01D8-4CA4-936F-1DDDB650CBFC}" dt="2024-07-15T08:32:30.093" v="1288" actId="1076"/>
          <ac:spMkLst>
            <pc:docMk/>
            <pc:sldMk cId="767983511" sldId="306"/>
            <ac:spMk id="21" creationId="{FF682961-6CA6-48A3-5F0E-35C922320436}"/>
          </ac:spMkLst>
        </pc:spChg>
        <pc:spChg chg="mod">
          <ac:chgData name="Theo Leuthardt" userId="3c09812dc81aead0" providerId="LiveId" clId="{00430FD1-01D8-4CA4-936F-1DDDB650CBFC}" dt="2024-07-15T08:32:30.093" v="1288" actId="1076"/>
          <ac:spMkLst>
            <pc:docMk/>
            <pc:sldMk cId="767983511" sldId="306"/>
            <ac:spMk id="24" creationId="{B8F6B0E9-A705-BDF1-10DF-91B8EE81A453}"/>
          </ac:spMkLst>
        </pc:spChg>
        <pc:spChg chg="mod">
          <ac:chgData name="Theo Leuthardt" userId="3c09812dc81aead0" providerId="LiveId" clId="{00430FD1-01D8-4CA4-936F-1DDDB650CBFC}" dt="2024-07-15T08:32:30.093" v="1288" actId="1076"/>
          <ac:spMkLst>
            <pc:docMk/>
            <pc:sldMk cId="767983511" sldId="306"/>
            <ac:spMk id="25" creationId="{B11666EB-CD92-4FA2-D9FA-D7EB7D725D10}"/>
          </ac:spMkLst>
        </pc:spChg>
        <pc:spChg chg="mod">
          <ac:chgData name="Theo Leuthardt" userId="3c09812dc81aead0" providerId="LiveId" clId="{00430FD1-01D8-4CA4-936F-1DDDB650CBFC}" dt="2024-07-15T08:32:30.093" v="1288" actId="1076"/>
          <ac:spMkLst>
            <pc:docMk/>
            <pc:sldMk cId="767983511" sldId="306"/>
            <ac:spMk id="26" creationId="{DBAB89B2-8DB9-24CF-F040-1D2185A7AA27}"/>
          </ac:spMkLst>
        </pc:spChg>
        <pc:spChg chg="mod">
          <ac:chgData name="Theo Leuthardt" userId="3c09812dc81aead0" providerId="LiveId" clId="{00430FD1-01D8-4CA4-936F-1DDDB650CBFC}" dt="2024-07-15T08:32:30.093" v="1288" actId="1076"/>
          <ac:spMkLst>
            <pc:docMk/>
            <pc:sldMk cId="767983511" sldId="306"/>
            <ac:spMk id="27" creationId="{7AF8E99F-405B-74A2-5F91-20A2E79F8414}"/>
          </ac:spMkLst>
        </pc:spChg>
        <pc:spChg chg="mod">
          <ac:chgData name="Theo Leuthardt" userId="3c09812dc81aead0" providerId="LiveId" clId="{00430FD1-01D8-4CA4-936F-1DDDB650CBFC}" dt="2024-07-15T08:32:30.093" v="1288" actId="1076"/>
          <ac:spMkLst>
            <pc:docMk/>
            <pc:sldMk cId="767983511" sldId="306"/>
            <ac:spMk id="28" creationId="{7F1E19A0-0B93-9F45-C9D5-3BAC76E3A0C2}"/>
          </ac:spMkLst>
        </pc:spChg>
        <pc:spChg chg="del">
          <ac:chgData name="Theo Leuthardt" userId="3c09812dc81aead0" providerId="LiveId" clId="{00430FD1-01D8-4CA4-936F-1DDDB650CBFC}" dt="2024-07-15T08:13:53.183" v="1175" actId="478"/>
          <ac:spMkLst>
            <pc:docMk/>
            <pc:sldMk cId="767983511" sldId="306"/>
            <ac:spMk id="29" creationId="{163543A4-A2AC-7EF3-4B29-DF34EA6E0DFA}"/>
          </ac:spMkLst>
        </pc:spChg>
        <pc:spChg chg="del">
          <ac:chgData name="Theo Leuthardt" userId="3c09812dc81aead0" providerId="LiveId" clId="{00430FD1-01D8-4CA4-936F-1DDDB650CBFC}" dt="2024-07-15T08:13:56.567" v="1177" actId="478"/>
          <ac:spMkLst>
            <pc:docMk/>
            <pc:sldMk cId="767983511" sldId="306"/>
            <ac:spMk id="30" creationId="{DBFA285C-469F-5805-76A2-B741618966F0}"/>
          </ac:spMkLst>
        </pc:spChg>
        <pc:spChg chg="mod">
          <ac:chgData name="Theo Leuthardt" userId="3c09812dc81aead0" providerId="LiveId" clId="{00430FD1-01D8-4CA4-936F-1DDDB650CBFC}" dt="2024-07-15T08:32:30.093" v="1288" actId="1076"/>
          <ac:spMkLst>
            <pc:docMk/>
            <pc:sldMk cId="767983511" sldId="306"/>
            <ac:spMk id="31" creationId="{EACBD842-72AE-C386-CE60-CCC666B68A02}"/>
          </ac:spMkLst>
        </pc:spChg>
        <pc:spChg chg="del mod">
          <ac:chgData name="Theo Leuthardt" userId="3c09812dc81aead0" providerId="LiveId" clId="{00430FD1-01D8-4CA4-936F-1DDDB650CBFC}" dt="2024-07-15T08:20:05.819" v="1212" actId="478"/>
          <ac:spMkLst>
            <pc:docMk/>
            <pc:sldMk cId="767983511" sldId="306"/>
            <ac:spMk id="32" creationId="{0EE4E5AA-63FB-A54B-2541-D168321B181C}"/>
          </ac:spMkLst>
        </pc:spChg>
        <pc:spChg chg="mod">
          <ac:chgData name="Theo Leuthardt" userId="3c09812dc81aead0" providerId="LiveId" clId="{00430FD1-01D8-4CA4-936F-1DDDB650CBFC}" dt="2024-07-15T08:32:30.093" v="1288" actId="1076"/>
          <ac:spMkLst>
            <pc:docMk/>
            <pc:sldMk cId="767983511" sldId="306"/>
            <ac:spMk id="33" creationId="{78162BDF-4570-4B69-149D-70246D06D95E}"/>
          </ac:spMkLst>
        </pc:spChg>
        <pc:spChg chg="mod">
          <ac:chgData name="Theo Leuthardt" userId="3c09812dc81aead0" providerId="LiveId" clId="{00430FD1-01D8-4CA4-936F-1DDDB650CBFC}" dt="2024-07-15T08:32:30.093" v="1288" actId="1076"/>
          <ac:spMkLst>
            <pc:docMk/>
            <pc:sldMk cId="767983511" sldId="306"/>
            <ac:spMk id="35" creationId="{DE6B527F-B013-73CE-2EC1-AC87AB73EF7F}"/>
          </ac:spMkLst>
        </pc:spChg>
        <pc:spChg chg="mod">
          <ac:chgData name="Theo Leuthardt" userId="3c09812dc81aead0" providerId="LiveId" clId="{00430FD1-01D8-4CA4-936F-1DDDB650CBFC}" dt="2024-07-15T08:32:30.093" v="1288" actId="1076"/>
          <ac:spMkLst>
            <pc:docMk/>
            <pc:sldMk cId="767983511" sldId="306"/>
            <ac:spMk id="37" creationId="{5854D7F7-CEAF-7908-7D47-195BF493ADDA}"/>
          </ac:spMkLst>
        </pc:spChg>
        <pc:spChg chg="mod">
          <ac:chgData name="Theo Leuthardt" userId="3c09812dc81aead0" providerId="LiveId" clId="{00430FD1-01D8-4CA4-936F-1DDDB650CBFC}" dt="2024-07-15T08:32:30.093" v="1288" actId="1076"/>
          <ac:spMkLst>
            <pc:docMk/>
            <pc:sldMk cId="767983511" sldId="306"/>
            <ac:spMk id="39" creationId="{167D3962-45C1-CF8C-2A97-E31DE9355681}"/>
          </ac:spMkLst>
        </pc:spChg>
        <pc:picChg chg="del mod">
          <ac:chgData name="Theo Leuthardt" userId="3c09812dc81aead0" providerId="LiveId" clId="{00430FD1-01D8-4CA4-936F-1DDDB650CBFC}" dt="2024-07-15T08:22:49.232" v="1253" actId="478"/>
          <ac:picMkLst>
            <pc:docMk/>
            <pc:sldMk cId="767983511" sldId="306"/>
            <ac:picMk id="3" creationId="{92E853B5-0813-2C29-AC30-0111EC90555B}"/>
          </ac:picMkLst>
        </pc:picChg>
        <pc:picChg chg="mod">
          <ac:chgData name="Theo Leuthardt" userId="3c09812dc81aead0" providerId="LiveId" clId="{00430FD1-01D8-4CA4-936F-1DDDB650CBFC}" dt="2024-07-15T08:32:30.093" v="1288" actId="1076"/>
          <ac:picMkLst>
            <pc:docMk/>
            <pc:sldMk cId="767983511" sldId="306"/>
            <ac:picMk id="8" creationId="{49A16B29-D2C3-300F-209A-3F45BAFA8747}"/>
          </ac:picMkLst>
        </pc:picChg>
        <pc:picChg chg="del mod">
          <ac:chgData name="Theo Leuthardt" userId="3c09812dc81aead0" providerId="LiveId" clId="{00430FD1-01D8-4CA4-936F-1DDDB650CBFC}" dt="2024-07-15T08:22:27.362" v="1238" actId="478"/>
          <ac:picMkLst>
            <pc:docMk/>
            <pc:sldMk cId="767983511" sldId="306"/>
            <ac:picMk id="9" creationId="{219E8A7D-F3CA-64E6-5E55-2213EA10BBB7}"/>
          </ac:picMkLst>
        </pc:picChg>
        <pc:picChg chg="del mod">
          <ac:chgData name="Theo Leuthardt" userId="3c09812dc81aead0" providerId="LiveId" clId="{00430FD1-01D8-4CA4-936F-1DDDB650CBFC}" dt="2024-07-15T08:22:38.907" v="1248" actId="478"/>
          <ac:picMkLst>
            <pc:docMk/>
            <pc:sldMk cId="767983511" sldId="306"/>
            <ac:picMk id="12" creationId="{2E2EF778-F3A2-E894-B28B-E220E8BE60EA}"/>
          </ac:picMkLst>
        </pc:picChg>
        <pc:picChg chg="del">
          <ac:chgData name="Theo Leuthardt" userId="3c09812dc81aead0" providerId="LiveId" clId="{00430FD1-01D8-4CA4-936F-1DDDB650CBFC}" dt="2024-07-15T08:19:51.834" v="1209" actId="478"/>
          <ac:picMkLst>
            <pc:docMk/>
            <pc:sldMk cId="767983511" sldId="306"/>
            <ac:picMk id="14" creationId="{CC0AA1DC-275F-F990-C942-9675EA126B89}"/>
          </ac:picMkLst>
        </pc:picChg>
        <pc:picChg chg="del">
          <ac:chgData name="Theo Leuthardt" userId="3c09812dc81aead0" providerId="LiveId" clId="{00430FD1-01D8-4CA4-936F-1DDDB650CBFC}" dt="2024-07-15T08:13:51.312" v="1174" actId="478"/>
          <ac:picMkLst>
            <pc:docMk/>
            <pc:sldMk cId="767983511" sldId="306"/>
            <ac:picMk id="15" creationId="{ECF7DEC4-123F-3A2D-7D90-5FA96E5503C1}"/>
          </ac:picMkLst>
        </pc:picChg>
        <pc:picChg chg="mod">
          <ac:chgData name="Theo Leuthardt" userId="3c09812dc81aead0" providerId="LiveId" clId="{00430FD1-01D8-4CA4-936F-1DDDB650CBFC}" dt="2024-07-15T08:32:30.093" v="1288" actId="1076"/>
          <ac:picMkLst>
            <pc:docMk/>
            <pc:sldMk cId="767983511" sldId="306"/>
            <ac:picMk id="16" creationId="{B1DF8580-11F3-F4B3-AB9E-93A859B36483}"/>
          </ac:picMkLst>
        </pc:picChg>
        <pc:picChg chg="del">
          <ac:chgData name="Theo Leuthardt" userId="3c09812dc81aead0" providerId="LiveId" clId="{00430FD1-01D8-4CA4-936F-1DDDB650CBFC}" dt="2024-07-15T08:13:54.253" v="1176" actId="478"/>
          <ac:picMkLst>
            <pc:docMk/>
            <pc:sldMk cId="767983511" sldId="306"/>
            <ac:picMk id="17" creationId="{3312F3EB-EBF3-8EE4-2481-7BF953BDDB2D}"/>
          </ac:picMkLst>
        </pc:picChg>
        <pc:picChg chg="add mod">
          <ac:chgData name="Theo Leuthardt" userId="3c09812dc81aead0" providerId="LiveId" clId="{00430FD1-01D8-4CA4-936F-1DDDB650CBFC}" dt="2024-07-15T08:32:30.093" v="1288" actId="1076"/>
          <ac:picMkLst>
            <pc:docMk/>
            <pc:sldMk cId="767983511" sldId="306"/>
            <ac:picMk id="18" creationId="{C31D3915-6753-BF34-DAA0-D0DA547ADD58}"/>
          </ac:picMkLst>
        </pc:picChg>
        <pc:picChg chg="add mod">
          <ac:chgData name="Theo Leuthardt" userId="3c09812dc81aead0" providerId="LiveId" clId="{00430FD1-01D8-4CA4-936F-1DDDB650CBFC}" dt="2024-07-15T08:32:30.093" v="1288" actId="1076"/>
          <ac:picMkLst>
            <pc:docMk/>
            <pc:sldMk cId="767983511" sldId="306"/>
            <ac:picMk id="22" creationId="{90B67A71-BCCD-F066-8DA1-067F7A7A2028}"/>
          </ac:picMkLst>
        </pc:picChg>
        <pc:picChg chg="add mod">
          <ac:chgData name="Theo Leuthardt" userId="3c09812dc81aead0" providerId="LiveId" clId="{00430FD1-01D8-4CA4-936F-1DDDB650CBFC}" dt="2024-07-15T08:32:30.093" v="1288" actId="1076"/>
          <ac:picMkLst>
            <pc:docMk/>
            <pc:sldMk cId="767983511" sldId="306"/>
            <ac:picMk id="34" creationId="{79B4B269-86BD-EE59-205F-216C7D680A6B}"/>
          </ac:picMkLst>
        </pc:picChg>
        <pc:picChg chg="add mod">
          <ac:chgData name="Theo Leuthardt" userId="3c09812dc81aead0" providerId="LiveId" clId="{00430FD1-01D8-4CA4-936F-1DDDB650CBFC}" dt="2024-07-15T08:32:30.093" v="1288" actId="1076"/>
          <ac:picMkLst>
            <pc:docMk/>
            <pc:sldMk cId="767983511" sldId="306"/>
            <ac:picMk id="38" creationId="{B4891515-97E2-D022-EA9D-6886E3769766}"/>
          </ac:picMkLst>
        </pc:picChg>
      </pc:sldChg>
      <pc:sldChg chg="addSp delSp modSp add mod">
        <pc:chgData name="Theo Leuthardt" userId="3c09812dc81aead0" providerId="LiveId" clId="{00430FD1-01D8-4CA4-936F-1DDDB650CBFC}" dt="2024-07-15T18:22:51.325" v="2234" actId="1076"/>
        <pc:sldMkLst>
          <pc:docMk/>
          <pc:sldMk cId="3312438325" sldId="307"/>
        </pc:sldMkLst>
        <pc:spChg chg="mod">
          <ac:chgData name="Theo Leuthardt" userId="3c09812dc81aead0" providerId="LiveId" clId="{00430FD1-01D8-4CA4-936F-1DDDB650CBFC}" dt="2024-07-15T08:34:36.099" v="1310" actId="20577"/>
          <ac:spMkLst>
            <pc:docMk/>
            <pc:sldMk cId="3312438325" sldId="307"/>
            <ac:spMk id="2" creationId="{C27CC909-7103-480C-9257-B1E7EBFE3E07}"/>
          </ac:spMkLst>
        </pc:spChg>
        <pc:spChg chg="mod">
          <ac:chgData name="Theo Leuthardt" userId="3c09812dc81aead0" providerId="LiveId" clId="{00430FD1-01D8-4CA4-936F-1DDDB650CBFC}" dt="2024-07-15T08:34:10.408" v="1291"/>
          <ac:spMkLst>
            <pc:docMk/>
            <pc:sldMk cId="3312438325" sldId="307"/>
            <ac:spMk id="4" creationId="{56FE27A1-1DC4-49A0-9EBF-4021866DD016}"/>
          </ac:spMkLst>
        </pc:spChg>
        <pc:spChg chg="mod">
          <ac:chgData name="Theo Leuthardt" userId="3c09812dc81aead0" providerId="LiveId" clId="{00430FD1-01D8-4CA4-936F-1DDDB650CBFC}" dt="2024-07-15T09:45:04.711" v="2129" actId="20577"/>
          <ac:spMkLst>
            <pc:docMk/>
            <pc:sldMk cId="3312438325" sldId="307"/>
            <ac:spMk id="5" creationId="{CEBE327A-450A-4631-920C-80A1F0E4D3F5}"/>
          </ac:spMkLst>
        </pc:spChg>
        <pc:spChg chg="mod">
          <ac:chgData name="Theo Leuthardt" userId="3c09812dc81aead0" providerId="LiveId" clId="{00430FD1-01D8-4CA4-936F-1DDDB650CBFC}" dt="2024-07-15T10:33:34.279" v="2211" actId="20577"/>
          <ac:spMkLst>
            <pc:docMk/>
            <pc:sldMk cId="3312438325" sldId="307"/>
            <ac:spMk id="6" creationId="{2972672B-0DC7-4E21-AED7-23F9F9AA8194}"/>
          </ac:spMkLst>
        </pc:spChg>
        <pc:spChg chg="add del mod">
          <ac:chgData name="Theo Leuthardt" userId="3c09812dc81aead0" providerId="LiveId" clId="{00430FD1-01D8-4CA4-936F-1DDDB650CBFC}" dt="2024-07-15T08:35:06.235" v="1314" actId="478"/>
          <ac:spMkLst>
            <pc:docMk/>
            <pc:sldMk cId="3312438325" sldId="307"/>
            <ac:spMk id="8" creationId="{2CAC59E0-C2A7-FD58-0E86-FF50FD468CE9}"/>
          </ac:spMkLst>
        </pc:spChg>
        <pc:spChg chg="del">
          <ac:chgData name="Theo Leuthardt" userId="3c09812dc81aead0" providerId="LiveId" clId="{00430FD1-01D8-4CA4-936F-1DDDB650CBFC}" dt="2024-07-15T08:35:08.589" v="1316" actId="478"/>
          <ac:spMkLst>
            <pc:docMk/>
            <pc:sldMk cId="3312438325" sldId="307"/>
            <ac:spMk id="18" creationId="{F6204001-E60A-DAA0-8DE6-51CC55D3FF93}"/>
          </ac:spMkLst>
        </pc:spChg>
        <pc:picChg chg="add mod">
          <ac:chgData name="Theo Leuthardt" userId="3c09812dc81aead0" providerId="LiveId" clId="{00430FD1-01D8-4CA4-936F-1DDDB650CBFC}" dt="2024-07-15T18:22:51.325" v="2234" actId="1076"/>
          <ac:picMkLst>
            <pc:docMk/>
            <pc:sldMk cId="3312438325" sldId="307"/>
            <ac:picMk id="8" creationId="{11EFB1DD-BA08-B15C-E8D6-101A290570EE}"/>
          </ac:picMkLst>
        </pc:picChg>
        <pc:picChg chg="add del mod">
          <ac:chgData name="Theo Leuthardt" userId="3c09812dc81aead0" providerId="LiveId" clId="{00430FD1-01D8-4CA4-936F-1DDDB650CBFC}" dt="2024-07-15T10:40:11.607" v="2219" actId="478"/>
          <ac:picMkLst>
            <pc:docMk/>
            <pc:sldMk cId="3312438325" sldId="307"/>
            <ac:picMk id="12" creationId="{5DCD2126-2B6F-5C3C-6BF4-7CC5B2B8FB6F}"/>
          </ac:picMkLst>
        </pc:picChg>
        <pc:picChg chg="add del mod">
          <ac:chgData name="Theo Leuthardt" userId="3c09812dc81aead0" providerId="LiveId" clId="{00430FD1-01D8-4CA4-936F-1DDDB650CBFC}" dt="2024-07-15T18:21:39.878" v="2228" actId="478"/>
          <ac:picMkLst>
            <pc:docMk/>
            <pc:sldMk cId="3312438325" sldId="307"/>
            <ac:picMk id="15" creationId="{1699BC79-5EDB-2B1F-58A5-DDB0616CEF6D}"/>
          </ac:picMkLst>
        </pc:picChg>
        <pc:picChg chg="del">
          <ac:chgData name="Theo Leuthardt" userId="3c09812dc81aead0" providerId="LiveId" clId="{00430FD1-01D8-4CA4-936F-1DDDB650CBFC}" dt="2024-07-15T08:35:05.432" v="1313" actId="478"/>
          <ac:picMkLst>
            <pc:docMk/>
            <pc:sldMk cId="3312438325" sldId="307"/>
            <ac:picMk id="16" creationId="{F2C55D27-DDA1-EFE4-3B99-631A9946E80F}"/>
          </ac:picMkLst>
        </pc:picChg>
        <pc:picChg chg="del">
          <ac:chgData name="Theo Leuthardt" userId="3c09812dc81aead0" providerId="LiveId" clId="{00430FD1-01D8-4CA4-936F-1DDDB650CBFC}" dt="2024-07-15T08:35:06.792" v="1315" actId="478"/>
          <ac:picMkLst>
            <pc:docMk/>
            <pc:sldMk cId="3312438325" sldId="307"/>
            <ac:picMk id="17" creationId="{AF217771-499B-75D3-B775-F46003983E56}"/>
          </ac:picMkLst>
        </pc:picChg>
      </pc:sldChg>
      <pc:sldChg chg="addSp delSp modSp add mod">
        <pc:chgData name="Theo Leuthardt" userId="3c09812dc81aead0" providerId="LiveId" clId="{00430FD1-01D8-4CA4-936F-1DDDB650CBFC}" dt="2024-07-15T18:23:51.834" v="2239" actId="1076"/>
        <pc:sldMkLst>
          <pc:docMk/>
          <pc:sldMk cId="3616856077" sldId="308"/>
        </pc:sldMkLst>
        <pc:spChg chg="mod">
          <ac:chgData name="Theo Leuthardt" userId="3c09812dc81aead0" providerId="LiveId" clId="{00430FD1-01D8-4CA4-936F-1DDDB650CBFC}" dt="2024-07-15T08:38:47.796" v="1332" actId="20577"/>
          <ac:spMkLst>
            <pc:docMk/>
            <pc:sldMk cId="3616856077" sldId="308"/>
            <ac:spMk id="2" creationId="{C27CC909-7103-480C-9257-B1E7EBFE3E07}"/>
          </ac:spMkLst>
        </pc:spChg>
        <pc:spChg chg="mod">
          <ac:chgData name="Theo Leuthardt" userId="3c09812dc81aead0" providerId="LiveId" clId="{00430FD1-01D8-4CA4-936F-1DDDB650CBFC}" dt="2024-07-15T08:38:34.591" v="1318"/>
          <ac:spMkLst>
            <pc:docMk/>
            <pc:sldMk cId="3616856077" sldId="308"/>
            <ac:spMk id="4" creationId="{56FE27A1-1DC4-49A0-9EBF-4021866DD016}"/>
          </ac:spMkLst>
        </pc:spChg>
        <pc:spChg chg="del">
          <ac:chgData name="Theo Leuthardt" userId="3c09812dc81aead0" providerId="LiveId" clId="{00430FD1-01D8-4CA4-936F-1DDDB650CBFC}" dt="2024-07-15T08:38:38.367" v="1319" actId="478"/>
          <ac:spMkLst>
            <pc:docMk/>
            <pc:sldMk cId="3616856077" sldId="308"/>
            <ac:spMk id="5" creationId="{CEBE327A-450A-4631-920C-80A1F0E4D3F5}"/>
          </ac:spMkLst>
        </pc:spChg>
        <pc:spChg chg="mod">
          <ac:chgData name="Theo Leuthardt" userId="3c09812dc81aead0" providerId="LiveId" clId="{00430FD1-01D8-4CA4-936F-1DDDB650CBFC}" dt="2024-07-15T08:48:52.739" v="1692" actId="20577"/>
          <ac:spMkLst>
            <pc:docMk/>
            <pc:sldMk cId="3616856077" sldId="308"/>
            <ac:spMk id="6" creationId="{2972672B-0DC7-4E21-AED7-23F9F9AA8194}"/>
          </ac:spMkLst>
        </pc:spChg>
        <pc:spChg chg="del">
          <ac:chgData name="Theo Leuthardt" userId="3c09812dc81aead0" providerId="LiveId" clId="{00430FD1-01D8-4CA4-936F-1DDDB650CBFC}" dt="2024-07-15T08:41:06.803" v="1428" actId="478"/>
          <ac:spMkLst>
            <pc:docMk/>
            <pc:sldMk cId="3616856077" sldId="308"/>
            <ac:spMk id="9" creationId="{14D17D64-87D8-480B-8661-CD75D29D54DA}"/>
          </ac:spMkLst>
        </pc:spChg>
        <pc:spChg chg="del">
          <ac:chgData name="Theo Leuthardt" userId="3c09812dc81aead0" providerId="LiveId" clId="{00430FD1-01D8-4CA4-936F-1DDDB650CBFC}" dt="2024-07-15T08:41:00.846" v="1426" actId="478"/>
          <ac:spMkLst>
            <pc:docMk/>
            <pc:sldMk cId="3616856077" sldId="308"/>
            <ac:spMk id="12" creationId="{C1645695-4B8E-4303-BFED-5A15B21D2ABF}"/>
          </ac:spMkLst>
        </pc:spChg>
        <pc:spChg chg="add mod">
          <ac:chgData name="Theo Leuthardt" userId="3c09812dc81aead0" providerId="LiveId" clId="{00430FD1-01D8-4CA4-936F-1DDDB650CBFC}" dt="2024-07-15T18:23:51.834" v="2239" actId="1076"/>
          <ac:spMkLst>
            <pc:docMk/>
            <pc:sldMk cId="3616856077" sldId="308"/>
            <ac:spMk id="16" creationId="{F7F57434-21C3-78AB-9837-CBCE140F5848}"/>
          </ac:spMkLst>
        </pc:spChg>
        <pc:graphicFrameChg chg="del">
          <ac:chgData name="Theo Leuthardt" userId="3c09812dc81aead0" providerId="LiveId" clId="{00430FD1-01D8-4CA4-936F-1DDDB650CBFC}" dt="2024-07-15T08:41:04.760" v="1427" actId="478"/>
          <ac:graphicFrameMkLst>
            <pc:docMk/>
            <pc:sldMk cId="3616856077" sldId="308"/>
            <ac:graphicFrameMk id="14" creationId="{648D7EFA-87E0-476C-9AC6-94CA6845C647}"/>
          </ac:graphicFrameMkLst>
        </pc:graphicFrameChg>
        <pc:graphicFrameChg chg="add mod">
          <ac:chgData name="Theo Leuthardt" userId="3c09812dc81aead0" providerId="LiveId" clId="{00430FD1-01D8-4CA4-936F-1DDDB650CBFC}" dt="2024-07-15T08:46:55.895" v="1639" actId="1076"/>
          <ac:graphicFrameMkLst>
            <pc:docMk/>
            <pc:sldMk cId="3616856077" sldId="308"/>
            <ac:graphicFrameMk id="15" creationId="{8BC8C668-7A5A-D7A8-C61B-580A8F9EB586}"/>
          </ac:graphicFrameMkLst>
        </pc:graphicFrameChg>
        <pc:picChg chg="add mod">
          <ac:chgData name="Theo Leuthardt" userId="3c09812dc81aead0" providerId="LiveId" clId="{00430FD1-01D8-4CA4-936F-1DDDB650CBFC}" dt="2024-07-15T18:23:36.579" v="2238" actId="1076"/>
          <ac:picMkLst>
            <pc:docMk/>
            <pc:sldMk cId="3616856077" sldId="308"/>
            <ac:picMk id="8" creationId="{8370EC25-D8C8-65CB-FF7E-6CB6ECC84878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68AB7F6-4FA6-4341-B7A1-13CAC40B1D60}"/>
              </a:ext>
            </a:extLst>
          </p:cNvPr>
          <p:cNvSpPr>
            <a:spLocks noGrp="1"/>
          </p:cNvSpPr>
          <p:nvPr>
            <p:ph type="dt" sz="quarter" idx="1"/>
          </p:nvPr>
        </p:nvSpPr>
        <p:spPr bwMode="gray">
          <a:xfrm>
            <a:off x="297000" y="8688182"/>
            <a:ext cx="648000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r">
              <a:defRPr sz="1200"/>
            </a:lvl1pPr>
          </a:lstStyle>
          <a:p>
            <a:pPr algn="l"/>
            <a:fld id="{A07841AD-0864-4C80-81C1-5E38A277A640}" type="datetime1">
              <a:rPr lang="de-DE" sz="800" smtClean="0"/>
              <a:t>15.07.2024</a:t>
            </a:fld>
            <a:endParaRPr lang="en-GB" sz="80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D0B83A4-7C6C-4C2D-9329-E4D20CC7032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 bwMode="gray">
          <a:xfrm>
            <a:off x="1089006" y="8688182"/>
            <a:ext cx="4968000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>
              <a:defRPr sz="1200"/>
            </a:lvl1pPr>
          </a:lstStyle>
          <a:p>
            <a:r>
              <a:rPr lang="de-DE" sz="800"/>
              <a:t>Klassifizierung intern, vertraulich oder streng vertraulich ("Einfügen &gt; Kopf- und Fußzeile")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1538ABC-EFC3-4811-A9D1-BD469ABBB55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 bwMode="gray">
          <a:xfrm>
            <a:off x="6273000" y="8688182"/>
            <a:ext cx="288000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r">
              <a:defRPr sz="1200"/>
            </a:lvl1pPr>
          </a:lstStyle>
          <a:p>
            <a:fld id="{BE0D8016-223B-46A0-A9FB-F99DA71203D3}" type="slidenum">
              <a:rPr lang="en-GB" sz="800" smtClean="0"/>
              <a:t>‹Nr.›</a:t>
            </a:fld>
            <a:endParaRPr lang="en-GB" sz="80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B49C4909-58CB-4A7B-B980-E9D426A6381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5002186" y="381238"/>
            <a:ext cx="1558813" cy="188623"/>
          </a:xfrm>
          <a:prstGeom prst="rect">
            <a:avLst/>
          </a:prstGeom>
        </p:spPr>
      </p:pic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12305BCF-CF13-4CA9-A58B-571C7615239D}"/>
              </a:ext>
            </a:extLst>
          </p:cNvPr>
          <p:cNvCxnSpPr>
            <a:cxnSpLocks/>
          </p:cNvCxnSpPr>
          <p:nvPr/>
        </p:nvCxnSpPr>
        <p:spPr bwMode="gray">
          <a:xfrm>
            <a:off x="297000" y="8604448"/>
            <a:ext cx="6264000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59841622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 bwMode="gray">
          <a:xfrm>
            <a:off x="297000" y="8688182"/>
            <a:ext cx="648000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/>
            </a:lvl1pPr>
          </a:lstStyle>
          <a:p>
            <a:fld id="{5532028E-2827-45EF-A7E4-3B65F5FC12A3}" type="datetime1">
              <a:rPr lang="de-DE" smtClean="0"/>
              <a:t>15.07.2024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685800" y="1143000"/>
            <a:ext cx="5486400" cy="3086100"/>
          </a:xfrm>
          <a:prstGeom prst="rect">
            <a:avLst/>
          </a:prstGeom>
          <a:noFill/>
          <a:ln w="9525">
            <a:solidFill>
              <a:schemeClr val="tx2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 bwMode="gray">
          <a:xfrm>
            <a:off x="1089006" y="8688182"/>
            <a:ext cx="4968000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/>
            </a:lvl1pPr>
          </a:lstStyle>
          <a:p>
            <a:r>
              <a:rPr lang="de-DE" sz="800"/>
              <a:t>Klassifizierung intern, vertraulich oder streng vertraulich ("Einfügen &gt; Kopf- und Fußzeile")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 bwMode="gray">
          <a:xfrm>
            <a:off x="6273000" y="8688182"/>
            <a:ext cx="288000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r">
              <a:defRPr sz="800"/>
            </a:lvl1pPr>
          </a:lstStyle>
          <a:p>
            <a:fld id="{AF73C40D-FC5D-49D6-9A50-83F40C6118CC}" type="slidenum">
              <a:rPr lang="en-GB" smtClean="0"/>
              <a:pPr/>
              <a:t>‹Nr.›</a:t>
            </a:fld>
            <a:endParaRPr lang="en-GB"/>
          </a:p>
        </p:txBody>
      </p: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956AB5A6-E89B-4BCD-90A0-6F03DBD83896}"/>
              </a:ext>
            </a:extLst>
          </p:cNvPr>
          <p:cNvCxnSpPr>
            <a:cxnSpLocks/>
          </p:cNvCxnSpPr>
          <p:nvPr/>
        </p:nvCxnSpPr>
        <p:spPr bwMode="gray">
          <a:xfrm>
            <a:off x="297000" y="8604448"/>
            <a:ext cx="6264000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fik 13">
            <a:extLst>
              <a:ext uri="{FF2B5EF4-FFF2-40B4-BE49-F238E27FC236}">
                <a16:creationId xmlns:a16="http://schemas.microsoft.com/office/drawing/2014/main" id="{C68E0187-512A-418C-9FE6-9AE185AF176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5002186" y="381238"/>
            <a:ext cx="1558813" cy="188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8961016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indent="0" algn="l" defTabSz="914400" rtl="0" eaLnBrk="1" latinLnBrk="0" hangingPunct="1">
      <a:buFont typeface="Arial" panose="020B0604020202020204" pitchFamily="34" charset="0"/>
      <a:buNone/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144000" indent="-144000" algn="l" defTabSz="914400" rtl="0" eaLnBrk="1" latinLnBrk="0" hangingPunct="1"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342000" indent="-144000" algn="l" defTabSz="914400" rtl="0" eaLnBrk="1" latinLnBrk="0" hangingPunct="1"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540000" indent="-144000" algn="l" defTabSz="914400" rtl="0" eaLnBrk="1" latinLnBrk="0" hangingPunct="1"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738000" indent="-144000" algn="l" defTabSz="914400" rtl="0" eaLnBrk="1" latinLnBrk="0" hangingPunct="1"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7000"/>
              </a:lnSpc>
            </a:pPr>
            <a:endParaRPr lang="de-DE" b="1"/>
          </a:p>
          <a:p>
            <a:pPr>
              <a:lnSpc>
                <a:spcPct val="107000"/>
              </a:lnSpc>
            </a:pPr>
            <a:r>
              <a:rPr lang="de-DE" b="1"/>
              <a:t>IDE:</a:t>
            </a:r>
            <a:r>
              <a:rPr lang="de-DE"/>
              <a:t> </a:t>
            </a:r>
            <a:r>
              <a:rPr lang="de-DE" err="1"/>
              <a:t>IntelliJ</a:t>
            </a:r>
            <a:r>
              <a:rPr lang="de-DE"/>
              <a:t> IDEA Ultimate von </a:t>
            </a:r>
            <a:r>
              <a:rPr lang="de-DE" err="1"/>
              <a:t>Jetbrains</a:t>
            </a:r>
            <a:endParaRPr lang="de-DE" err="1">
              <a:ea typeface="Verdana"/>
            </a:endParaRPr>
          </a:p>
          <a:p>
            <a:pPr marL="285750" indent="-285750">
              <a:lnSpc>
                <a:spcPct val="107000"/>
              </a:lnSpc>
              <a:buFont typeface="Calibri,Sans-Serif"/>
              <a:buChar char="-"/>
            </a:pPr>
            <a:r>
              <a:rPr lang="de-DE"/>
              <a:t>Programmiersprache: </a:t>
            </a:r>
            <a:r>
              <a:rPr lang="de-DE" err="1"/>
              <a:t>Typescript</a:t>
            </a:r>
            <a:endParaRPr lang="de-DE" err="1">
              <a:ea typeface="Verdana"/>
            </a:endParaRPr>
          </a:p>
          <a:p>
            <a:pPr marL="285750" indent="-285750">
              <a:lnSpc>
                <a:spcPct val="107000"/>
              </a:lnSpc>
              <a:buFont typeface="Calibri,Sans-Serif"/>
              <a:buChar char="-"/>
            </a:pPr>
            <a:r>
              <a:rPr lang="de-DE"/>
              <a:t>UI-Bibliothek: </a:t>
            </a:r>
            <a:r>
              <a:rPr lang="de-DE" err="1"/>
              <a:t>React</a:t>
            </a:r>
            <a:endParaRPr lang="de-DE" err="1">
              <a:ea typeface="Verdana"/>
            </a:endParaRPr>
          </a:p>
          <a:p>
            <a:pPr marL="285750" indent="-285750">
              <a:lnSpc>
                <a:spcPct val="107000"/>
              </a:lnSpc>
              <a:buFont typeface="Calibri,Sans-Serif"/>
              <a:buChar char="-"/>
            </a:pPr>
            <a:r>
              <a:rPr lang="de-DE"/>
              <a:t>CSS-Framework: </a:t>
            </a:r>
            <a:r>
              <a:rPr lang="de-DE" err="1"/>
              <a:t>TailwindCSS</a:t>
            </a:r>
            <a:endParaRPr lang="de-DE" err="1">
              <a:ea typeface="Verdana"/>
            </a:endParaRPr>
          </a:p>
          <a:p>
            <a:pPr>
              <a:lnSpc>
                <a:spcPct val="107000"/>
              </a:lnSpc>
            </a:pPr>
            <a:r>
              <a:rPr lang="de-DE" b="1"/>
              <a:t>Unittest:</a:t>
            </a:r>
            <a:r>
              <a:rPr lang="de-DE"/>
              <a:t> </a:t>
            </a:r>
            <a:endParaRPr lang="en-US"/>
          </a:p>
          <a:p>
            <a:pPr marL="285750" indent="-285750">
              <a:lnSpc>
                <a:spcPct val="107000"/>
              </a:lnSpc>
              <a:buFont typeface="Calibri,Sans-Serif"/>
              <a:buChar char="-"/>
            </a:pPr>
            <a:r>
              <a:rPr lang="de-DE"/>
              <a:t>Framework: </a:t>
            </a:r>
            <a:r>
              <a:rPr lang="de-DE" err="1"/>
              <a:t>JestJS</a:t>
            </a:r>
            <a:endParaRPr lang="de-DE" err="1">
              <a:ea typeface="Verdana"/>
            </a:endParaRPr>
          </a:p>
          <a:p>
            <a:pPr marL="285750" indent="-285750">
              <a:lnSpc>
                <a:spcPct val="107000"/>
              </a:lnSpc>
              <a:buFont typeface="Calibri,Sans-Serif"/>
              <a:buChar char="-"/>
            </a:pPr>
            <a:r>
              <a:rPr lang="de-DE"/>
              <a:t>Event-Bibliotheken: </a:t>
            </a:r>
            <a:r>
              <a:rPr lang="de-DE" err="1"/>
              <a:t>Testing</a:t>
            </a:r>
            <a:r>
              <a:rPr lang="de-DE"/>
              <a:t>-Library</a:t>
            </a:r>
            <a:endParaRPr lang="en-US"/>
          </a:p>
          <a:p>
            <a:pPr marL="464820" lvl="1" indent="-179070">
              <a:lnSpc>
                <a:spcPct val="107000"/>
              </a:lnSpc>
              <a:buFont typeface="Courier New,monospace"/>
              <a:buChar char="•"/>
            </a:pPr>
            <a:r>
              <a:rPr lang="de-DE" err="1"/>
              <a:t>UserEvent</a:t>
            </a:r>
            <a:endParaRPr lang="de-DE" err="1">
              <a:ea typeface="Verdana"/>
            </a:endParaRPr>
          </a:p>
          <a:p>
            <a:pPr marL="464820" lvl="1" indent="-179070">
              <a:lnSpc>
                <a:spcPct val="107000"/>
              </a:lnSpc>
              <a:buFont typeface="Courier New,monospace"/>
              <a:buChar char="•"/>
            </a:pPr>
            <a:r>
              <a:rPr lang="de-DE" err="1"/>
              <a:t>FireEvent</a:t>
            </a:r>
            <a:endParaRPr lang="de-DE" err="1">
              <a:ea typeface="Verdana"/>
            </a:endParaRPr>
          </a:p>
          <a:p>
            <a:pPr>
              <a:lnSpc>
                <a:spcPct val="107000"/>
              </a:lnSpc>
            </a:pPr>
            <a:r>
              <a:rPr lang="de-DE" b="1"/>
              <a:t>Automatisierter Frontendtest:</a:t>
            </a:r>
            <a:endParaRPr lang="en-US"/>
          </a:p>
          <a:p>
            <a:pPr marL="285750" indent="-285750">
              <a:lnSpc>
                <a:spcPct val="107000"/>
              </a:lnSpc>
              <a:buFont typeface="Calibri,Sans-Serif"/>
              <a:buChar char="-"/>
            </a:pPr>
            <a:r>
              <a:rPr lang="de-DE"/>
              <a:t>Tool: Cypress (E2E-Test) </a:t>
            </a:r>
            <a:endParaRPr lang="en-US"/>
          </a:p>
          <a:p>
            <a:pPr>
              <a:lnSpc>
                <a:spcPct val="107000"/>
              </a:lnSpc>
            </a:pPr>
            <a:r>
              <a:rPr lang="de-DE" b="1"/>
              <a:t>Versionsplattform:</a:t>
            </a:r>
            <a:r>
              <a:rPr lang="de-DE"/>
              <a:t> </a:t>
            </a:r>
            <a:r>
              <a:rPr lang="de-DE" err="1"/>
              <a:t>Gitlab</a:t>
            </a:r>
            <a:endParaRPr lang="de-DE" err="1">
              <a:ea typeface="Verdana"/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4F746E8-2D9A-40F0-B9D7-690E8758E71B}" type="datetime1">
              <a:rPr lang="de-DE" smtClean="0"/>
              <a:t>15.07.2024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 sz="800"/>
              <a:t>Klassifizierung intern, vertraulich oder streng vertraulich ("Einfügen &gt; Kopf- und Fußzeile")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F73C40D-FC5D-49D6-9A50-83F40C6118CC}" type="slidenum">
              <a:rPr lang="en-GB" smtClean="0"/>
              <a:pPr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609949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oleObject" Target="../embeddings/oleObject3.bin"/><Relationship Id="rId7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oleObject" Target="../embeddings/oleObject19.bin"/><Relationship Id="rId7" Type="http://schemas.openxmlformats.org/officeDocument/2006/relationships/image" Target="../media/image10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emf"/><Relationship Id="rId3" Type="http://schemas.openxmlformats.org/officeDocument/2006/relationships/oleObject" Target="../embeddings/oleObject20.bin"/><Relationship Id="rId7" Type="http://schemas.openxmlformats.org/officeDocument/2006/relationships/image" Target="../media/image10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1.emf"/><Relationship Id="rId4" Type="http://schemas.openxmlformats.org/officeDocument/2006/relationships/image" Target="../media/image10.png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emf"/><Relationship Id="rId3" Type="http://schemas.openxmlformats.org/officeDocument/2006/relationships/oleObject" Target="../embeddings/oleObject21.bin"/><Relationship Id="rId7" Type="http://schemas.openxmlformats.org/officeDocument/2006/relationships/image" Target="../media/image10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oleObject" Target="../embeddings/oleObject5.bin"/><Relationship Id="rId7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9.svg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oleObject" Target="../embeddings/oleObject6.bin"/><Relationship Id="rId7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9.svg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- Varian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1E0FD22D-7DD2-4BA0-9B86-A0F1948DA8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97092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1E0FD22D-7DD2-4BA0-9B86-A0F1948DA8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>
            <a:extLst>
              <a:ext uri="{FF2B5EF4-FFF2-40B4-BE49-F238E27FC236}">
                <a16:creationId xmlns:a16="http://schemas.microsoft.com/office/drawing/2014/main" id="{0519D3CF-2557-41AF-B6FC-1D44390069D3}"/>
              </a:ext>
            </a:extLst>
          </p:cNvPr>
          <p:cNvSpPr/>
          <p:nvPr userDrawn="1"/>
        </p:nvSpPr>
        <p:spPr bwMode="ltGray">
          <a:xfrm>
            <a:off x="0" y="1341438"/>
            <a:ext cx="12192000" cy="551656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noProof="0"/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C895C628-6C03-4B89-B8DD-D03480A16929}"/>
              </a:ext>
            </a:extLst>
          </p:cNvPr>
          <p:cNvSpPr/>
          <p:nvPr userDrawn="1"/>
        </p:nvSpPr>
        <p:spPr bwMode="gray">
          <a:xfrm>
            <a:off x="6240486" y="2888793"/>
            <a:ext cx="5951515" cy="3969207"/>
          </a:xfrm>
          <a:custGeom>
            <a:avLst/>
            <a:gdLst>
              <a:gd name="connsiteX0" fmla="*/ 2944016 w 5951515"/>
              <a:gd name="connsiteY0" fmla="*/ 0 h 3969207"/>
              <a:gd name="connsiteX1" fmla="*/ 5951515 w 5951515"/>
              <a:gd name="connsiteY1" fmla="*/ 0 h 3969207"/>
              <a:gd name="connsiteX2" fmla="*/ 5951515 w 5951515"/>
              <a:gd name="connsiteY2" fmla="*/ 2945650 h 3969207"/>
              <a:gd name="connsiteX3" fmla="*/ 3238621 w 5951515"/>
              <a:gd name="connsiteY3" fmla="*/ 2945650 h 3969207"/>
              <a:gd name="connsiteX4" fmla="*/ 3238583 w 5951515"/>
              <a:gd name="connsiteY4" fmla="*/ 2945650 h 3969207"/>
              <a:gd name="connsiteX5" fmla="*/ 2944016 w 5951515"/>
              <a:gd name="connsiteY5" fmla="*/ 3240178 h 3969207"/>
              <a:gd name="connsiteX6" fmla="*/ 2944016 w 5951515"/>
              <a:gd name="connsiteY6" fmla="*/ 3969207 h 3969207"/>
              <a:gd name="connsiteX7" fmla="*/ 0 w 5951515"/>
              <a:gd name="connsiteY7" fmla="*/ 3969207 h 3969207"/>
              <a:gd name="connsiteX8" fmla="*/ 0 w 5951515"/>
              <a:gd name="connsiteY8" fmla="*/ 2944006 h 3969207"/>
              <a:gd name="connsiteX9" fmla="*/ 2944016 w 5951515"/>
              <a:gd name="connsiteY9" fmla="*/ 0 h 39692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951515" h="3969207">
                <a:moveTo>
                  <a:pt x="2944016" y="0"/>
                </a:moveTo>
                <a:lnTo>
                  <a:pt x="5951515" y="0"/>
                </a:lnTo>
                <a:lnTo>
                  <a:pt x="5951515" y="2945650"/>
                </a:lnTo>
                <a:lnTo>
                  <a:pt x="3238621" y="2945650"/>
                </a:lnTo>
                <a:cubicBezTo>
                  <a:pt x="3238612" y="2945650"/>
                  <a:pt x="3238593" y="2945650"/>
                  <a:pt x="3238583" y="2945650"/>
                </a:cubicBezTo>
                <a:cubicBezTo>
                  <a:pt x="3075910" y="2945640"/>
                  <a:pt x="2944026" y="3077506"/>
                  <a:pt x="2944016" y="3240178"/>
                </a:cubicBezTo>
                <a:lnTo>
                  <a:pt x="2944016" y="3969207"/>
                </a:lnTo>
                <a:lnTo>
                  <a:pt x="0" y="3969207"/>
                </a:lnTo>
                <a:lnTo>
                  <a:pt x="0" y="2944006"/>
                </a:lnTo>
                <a:cubicBezTo>
                  <a:pt x="0" y="1318078"/>
                  <a:pt x="1318108" y="0"/>
                  <a:pt x="2944016" y="0"/>
                </a:cubicBezTo>
                <a:close/>
              </a:path>
            </a:pathLst>
          </a:custGeom>
          <a:solidFill>
            <a:schemeClr val="accent3"/>
          </a:solidFill>
          <a:ln w="7996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de-DE" noProof="0"/>
          </a:p>
        </p:txBody>
      </p:sp>
      <p:pic>
        <p:nvPicPr>
          <p:cNvPr id="26" name="Grafik 25">
            <a:extLst>
              <a:ext uri="{FF2B5EF4-FFF2-40B4-BE49-F238E27FC236}">
                <a16:creationId xmlns:a16="http://schemas.microsoft.com/office/drawing/2014/main" id="{B2D7E805-A02E-46B2-B6AA-9C8FECEF933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56023" t="65199"/>
          <a:stretch>
            <a:fillRect/>
          </a:stretch>
        </p:blipFill>
        <p:spPr bwMode="gray">
          <a:xfrm>
            <a:off x="0" y="1341438"/>
            <a:ext cx="5025390" cy="2735262"/>
          </a:xfrm>
          <a:custGeom>
            <a:avLst/>
            <a:gdLst>
              <a:gd name="connsiteX0" fmla="*/ 0 w 5025390"/>
              <a:gd name="connsiteY0" fmla="*/ 0 h 2735262"/>
              <a:gd name="connsiteX1" fmla="*/ 5025390 w 5025390"/>
              <a:gd name="connsiteY1" fmla="*/ 0 h 2735262"/>
              <a:gd name="connsiteX2" fmla="*/ 5025390 w 5025390"/>
              <a:gd name="connsiteY2" fmla="*/ 2735262 h 2735262"/>
              <a:gd name="connsiteX3" fmla="*/ 0 w 5025390"/>
              <a:gd name="connsiteY3" fmla="*/ 2735262 h 2735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25390" h="2735262">
                <a:moveTo>
                  <a:pt x="0" y="0"/>
                </a:moveTo>
                <a:lnTo>
                  <a:pt x="5025390" y="0"/>
                </a:lnTo>
                <a:lnTo>
                  <a:pt x="5025390" y="2735262"/>
                </a:lnTo>
                <a:lnTo>
                  <a:pt x="0" y="2735262"/>
                </a:lnTo>
                <a:close/>
              </a:path>
            </a:pathLst>
          </a:cu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59248FAA-9EC8-4B5A-ABCF-6D6EEA0A3C1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479424" y="2865939"/>
            <a:ext cx="5760000" cy="1169551"/>
          </a:xfrm>
        </p:spPr>
        <p:txBody>
          <a:bodyPr vert="horz" anchor="b" anchorCtr="0"/>
          <a:lstStyle>
            <a:lvl1pPr algn="l" rtl="0">
              <a:lnSpc>
                <a:spcPct val="1000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Präsentationstitel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0A368C6A-8EA2-41AA-B98E-13E7784A8A7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79424" y="4107498"/>
            <a:ext cx="5760000" cy="584775"/>
          </a:xfrm>
        </p:spPr>
        <p:txBody>
          <a:bodyPr>
            <a:spAutoFit/>
          </a:bodyPr>
          <a:lstStyle>
            <a:lvl1pPr marL="0" indent="0" algn="l" rtl="0">
              <a:lnSpc>
                <a:spcPct val="100000"/>
              </a:lnSpc>
              <a:buNone/>
              <a:tabLst>
                <a:tab pos="1706563" algn="l"/>
              </a:tabLst>
              <a:defRPr sz="380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buNone/>
              <a:tabLst>
                <a:tab pos="1706563" algn="l"/>
              </a:tabLst>
              <a:defRPr sz="38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buNone/>
              <a:tabLst>
                <a:tab pos="1706563" algn="l"/>
              </a:tabLst>
              <a:defRPr sz="38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buNone/>
              <a:defRPr sz="38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buNone/>
              <a:defRPr sz="38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38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38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tabLst/>
              <a:defRPr sz="38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3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/>
              <a:t>Untertitel bearbeiten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0A58D0E9-7272-477F-8E3F-54098289960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 bwMode="gray">
          <a:xfrm>
            <a:off x="8940316" y="501157"/>
            <a:ext cx="2772258" cy="335456"/>
          </a:xfrm>
          <a:prstGeom prst="rect">
            <a:avLst/>
          </a:prstGeom>
        </p:spPr>
      </p:pic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6FDDAE8-5747-4F16-937F-EBFA6930191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207568" y="5589240"/>
            <a:ext cx="3816000" cy="73866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sz="1600" noProof="0"/>
              <a:t>Datum bearbeiten</a:t>
            </a:r>
            <a:br>
              <a:rPr lang="de-DE" sz="1600" noProof="0"/>
            </a:br>
            <a:r>
              <a:rPr lang="de-DE" sz="1600" noProof="0"/>
              <a:t>Ort bearbeiten</a:t>
            </a:r>
            <a:br>
              <a:rPr lang="de-DE" sz="1600" noProof="0"/>
            </a:br>
            <a:r>
              <a:rPr lang="de-DE" sz="1600" noProof="0"/>
              <a:t>Verfasser bearbeiten</a:t>
            </a:r>
          </a:p>
        </p:txBody>
      </p:sp>
      <p:sp>
        <p:nvSpPr>
          <p:cNvPr id="20" name="Untertitel 2">
            <a:extLst>
              <a:ext uri="{FF2B5EF4-FFF2-40B4-BE49-F238E27FC236}">
                <a16:creationId xmlns:a16="http://schemas.microsoft.com/office/drawing/2014/main" id="{D6BC5272-6ADF-47F1-A816-2475B6BE2C00}"/>
              </a:ext>
            </a:extLst>
          </p:cNvPr>
          <p:cNvSpPr txBox="1">
            <a:spLocks/>
          </p:cNvSpPr>
          <p:nvPr userDrawn="1"/>
        </p:nvSpPr>
        <p:spPr bwMode="gray">
          <a:xfrm>
            <a:off x="479377" y="5589240"/>
            <a:ext cx="1044116" cy="73866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tabLst>
                <a:tab pos="1706563" algn="l"/>
              </a:tabLst>
              <a:defRPr sz="3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tabLst>
                <a:tab pos="1706563" algn="l"/>
              </a:tabLst>
              <a:defRPr sz="3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tabLst>
                <a:tab pos="1706563" algn="l"/>
              </a:tabLst>
              <a:defRPr sz="3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3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3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3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3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tabLst/>
              <a:defRPr sz="3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3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rtl="0"/>
            <a:r>
              <a:rPr lang="de-DE" sz="1600" noProof="0"/>
              <a:t>Datum</a:t>
            </a:r>
            <a:br>
              <a:rPr lang="de-DE" sz="1600" noProof="0"/>
            </a:br>
            <a:r>
              <a:rPr lang="de-DE" sz="1600" noProof="0"/>
              <a:t>Ort</a:t>
            </a:r>
            <a:br>
              <a:rPr lang="de-DE" sz="1600" noProof="0"/>
            </a:br>
            <a:r>
              <a:rPr lang="de-DE" sz="1600" noProof="0"/>
              <a:t>Verfasser</a:t>
            </a:r>
          </a:p>
        </p:txBody>
      </p:sp>
    </p:spTree>
    <p:extLst>
      <p:ext uri="{BB962C8B-B14F-4D97-AF65-F5344CB8AC3E}">
        <p14:creationId xmlns:p14="http://schemas.microsoft.com/office/powerpoint/2010/main" val="24783286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-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A87008D-5491-4ADE-A0E2-E3AB297091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13753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3A87008D-5491-4ADE-A0E2-E3AB297091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4CBB740-2A28-4019-BA6C-1C00B217AE26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479376" y="1088740"/>
            <a:ext cx="9324000" cy="4824140"/>
          </a:xfrm>
        </p:spPr>
        <p:txBody>
          <a:bodyPr/>
          <a:lstStyle>
            <a:lvl1pPr>
              <a:buClr>
                <a:schemeClr val="accent3"/>
              </a:buClr>
              <a:defRPr/>
            </a:lvl1pPr>
            <a:lvl2pPr>
              <a:buClr>
                <a:schemeClr val="accent3"/>
              </a:buClr>
              <a:defRPr/>
            </a:lvl2pPr>
            <a:lvl3pPr>
              <a:buClr>
                <a:schemeClr val="accent3"/>
              </a:buClr>
              <a:defRPr/>
            </a:lvl3pPr>
            <a:lvl4pPr>
              <a:buClr>
                <a:schemeClr val="accent3"/>
              </a:buClr>
              <a:defRPr/>
            </a:lvl4pPr>
            <a:lvl5pPr>
              <a:buClr>
                <a:schemeClr val="accent3"/>
              </a:buClr>
              <a:defRPr/>
            </a:lvl5pPr>
          </a:lstStyle>
          <a:p>
            <a:pPr lvl="0"/>
            <a:r>
              <a:rPr lang="de-DE" noProof="0"/>
              <a:t>Tex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5619E56B-1A46-49B8-8CAE-5577B26052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9424" y="446475"/>
            <a:ext cx="9324988" cy="246221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buNone/>
              <a:defRPr sz="1600"/>
            </a:lvl1pPr>
          </a:lstStyle>
          <a:p>
            <a:pPr lvl="0"/>
            <a:r>
              <a:rPr lang="de-DE" noProof="0"/>
              <a:t>Text bearbeiten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9655676C-5881-4050-8ACC-9E648CF623C0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de-DE" noProof="0"/>
              <a:t>17.07.2024</a:t>
            </a:r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08EDE0A7-C2A0-4C13-A352-1033BCDE438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de-DE" noProof="0"/>
              <a:t>Klassifizierung nicht vertraulich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83869D49-2C7B-47E0-8052-45E08F8A0D8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645586CC-6D24-4895-9441-71B1281C15CA}" type="slidenum">
              <a:rPr lang="de-DE" noProof="0" smtClean="0"/>
              <a:pPr/>
              <a:t>‹Nr.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65830216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mit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638EF7C6-8AEE-4303-B2A1-51603F2405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272514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638EF7C6-8AEE-4303-B2A1-51603F2405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D3D8656-F569-4639-BF37-3D2DB00329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/>
            </a:lvl1pPr>
          </a:lstStyle>
          <a:p>
            <a:r>
              <a:rPr lang="de-DE" noProof="0"/>
              <a:t>Headline bearbeiten (maximal zweizeilig)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4CBB740-2A28-4019-BA6C-1C00B217AE26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479376" y="2348880"/>
            <a:ext cx="5544000" cy="3564000"/>
          </a:xfrm>
        </p:spPr>
        <p:txBody>
          <a:bodyPr/>
          <a:lstStyle/>
          <a:p>
            <a:pPr lvl="0"/>
            <a:r>
              <a:rPr lang="de-DE" noProof="0"/>
              <a:t>Tex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5619E56B-1A46-49B8-8CAE-5577B26052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9424" y="446475"/>
            <a:ext cx="9324988" cy="246221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buNone/>
              <a:defRPr sz="1600"/>
            </a:lvl1pPr>
          </a:lstStyle>
          <a:p>
            <a:pPr lvl="0"/>
            <a:r>
              <a:rPr lang="de-DE" noProof="0"/>
              <a:t>Text bearbeiten</a:t>
            </a:r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id="{2A2A30A9-66BF-4866-B256-36BF40C2C95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79424" y="1628800"/>
            <a:ext cx="11233150" cy="246221"/>
          </a:xfrm>
        </p:spPr>
        <p:txBody>
          <a:bodyPr anchor="t" anchorCtr="0">
            <a:sp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accent3"/>
                </a:solidFill>
              </a:defRPr>
            </a:lvl1pPr>
            <a:lvl2pPr marL="0" indent="0">
              <a:lnSpc>
                <a:spcPct val="100000"/>
              </a:lnSpc>
              <a:buNone/>
              <a:defRPr sz="1600">
                <a:solidFill>
                  <a:schemeClr val="accent3"/>
                </a:solidFill>
              </a:defRPr>
            </a:lvl2pPr>
            <a:lvl3pPr marL="0" indent="0">
              <a:lnSpc>
                <a:spcPct val="100000"/>
              </a:lnSpc>
              <a:buNone/>
              <a:defRPr sz="1600">
                <a:solidFill>
                  <a:schemeClr val="accent3"/>
                </a:solidFill>
              </a:defRPr>
            </a:lvl3pPr>
            <a:lvl4pPr marL="0" indent="0">
              <a:lnSpc>
                <a:spcPct val="100000"/>
              </a:lnSpc>
              <a:buNone/>
              <a:defRPr sz="1600">
                <a:solidFill>
                  <a:schemeClr val="accent3"/>
                </a:solidFill>
              </a:defRPr>
            </a:lvl4pPr>
            <a:lvl5pPr marL="0" indent="0">
              <a:lnSpc>
                <a:spcPct val="100000"/>
              </a:lnSpc>
              <a:buNone/>
              <a:defRPr sz="1600">
                <a:solidFill>
                  <a:schemeClr val="accent3"/>
                </a:solidFill>
              </a:defRPr>
            </a:lvl5pPr>
            <a:lvl6pPr marL="0" indent="0">
              <a:lnSpc>
                <a:spcPct val="100000"/>
              </a:lnSpc>
              <a:buNone/>
              <a:defRPr sz="1600">
                <a:solidFill>
                  <a:schemeClr val="accent3"/>
                </a:solidFill>
              </a:defRPr>
            </a:lvl6pPr>
            <a:lvl7pPr marL="0" indent="0">
              <a:lnSpc>
                <a:spcPct val="100000"/>
              </a:lnSpc>
              <a:buNone/>
              <a:defRPr sz="1600">
                <a:solidFill>
                  <a:schemeClr val="accent3"/>
                </a:solidFill>
              </a:defRPr>
            </a:lvl7pPr>
            <a:lvl8pPr marL="0" indent="0">
              <a:lnSpc>
                <a:spcPct val="100000"/>
              </a:lnSpc>
              <a:buNone/>
              <a:defRPr sz="1600">
                <a:solidFill>
                  <a:schemeClr val="accent3"/>
                </a:solidFill>
              </a:defRPr>
            </a:lvl8pPr>
            <a:lvl9pPr marL="0" indent="0">
              <a:lnSpc>
                <a:spcPct val="100000"/>
              </a:lnSpc>
              <a:buNone/>
              <a:defRPr sz="1600">
                <a:solidFill>
                  <a:schemeClr val="accent3"/>
                </a:solidFill>
              </a:defRPr>
            </a:lvl9pPr>
          </a:lstStyle>
          <a:p>
            <a:pPr lvl="0"/>
            <a:r>
              <a:rPr lang="de-DE" noProof="0"/>
              <a:t>Subheadline bearbeiten (optional)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F903AC36-4366-4A45-8D41-62FCE172E77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6168008" y="2348879"/>
            <a:ext cx="5544000" cy="3564000"/>
          </a:xfrm>
          <a:solidFill>
            <a:schemeClr val="tx2"/>
          </a:solidFill>
          <a:ln>
            <a:noFill/>
          </a:ln>
        </p:spPr>
        <p:txBody>
          <a:bodyPr lIns="72000" tIns="72000" rIns="72000" bIns="72000" anchor="ctr" anchorCtr="0"/>
          <a:lstStyle>
            <a:lvl1pPr marL="0" indent="0" algn="ctr">
              <a:buNone/>
              <a:defRPr>
                <a:solidFill>
                  <a:schemeClr val="accent6"/>
                </a:solidFill>
              </a:defRPr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11" name="Datumsplatzhalter 10">
            <a:extLst>
              <a:ext uri="{FF2B5EF4-FFF2-40B4-BE49-F238E27FC236}">
                <a16:creationId xmlns:a16="http://schemas.microsoft.com/office/drawing/2014/main" id="{BDE25243-4CE2-4060-8114-216136210417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r>
              <a:rPr lang="de-DE" noProof="0"/>
              <a:t>17.07.2024</a:t>
            </a:r>
          </a:p>
        </p:txBody>
      </p:sp>
      <p:sp>
        <p:nvSpPr>
          <p:cNvPr id="15" name="Fußzeilenplatzhalter 14">
            <a:extLst>
              <a:ext uri="{FF2B5EF4-FFF2-40B4-BE49-F238E27FC236}">
                <a16:creationId xmlns:a16="http://schemas.microsoft.com/office/drawing/2014/main" id="{9DB5AF8D-9056-47F3-B3F5-C9AF67220EE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de-DE" noProof="0"/>
              <a:t>Klassifizierung nicht vertraulich</a:t>
            </a:r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8759964B-34DD-48DC-ACAE-DB7C7A634F8D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645586CC-6D24-4895-9441-71B1281C15CA}" type="slidenum">
              <a:rPr lang="de-DE" noProof="0" smtClean="0"/>
              <a:pPr/>
              <a:t>‹Nr.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429116787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F376ADB8-19B0-4A5C-BAD2-07CD6B5CD1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24851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F376ADB8-19B0-4A5C-BAD2-07CD6B5CD1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F84E87A-098A-4024-B944-4B4BA877E3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de-DE" noProof="0"/>
              <a:t>Headline bearbeiten (maximal zweizeilig)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1BF5F49-8DDF-4AAE-92BD-0FA3663DACB6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479376" y="2348880"/>
            <a:ext cx="5544000" cy="3564000"/>
          </a:xfrm>
        </p:spPr>
        <p:txBody>
          <a:bodyPr/>
          <a:lstStyle/>
          <a:p>
            <a:pPr lvl="0"/>
            <a:r>
              <a:rPr lang="de-DE" noProof="0"/>
              <a:t>Tex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14A1F48-FF1D-4DC4-AA6C-379E0492BEE5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 bwMode="gray">
          <a:xfrm>
            <a:off x="6168008" y="2348880"/>
            <a:ext cx="5544000" cy="3564000"/>
          </a:xfrm>
        </p:spPr>
        <p:txBody>
          <a:bodyPr/>
          <a:lstStyle/>
          <a:p>
            <a:pPr lvl="0"/>
            <a:r>
              <a:rPr lang="de-DE" noProof="0"/>
              <a:t>Tex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DCA4369-197F-4913-BE0E-85695D2FA4F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9424" y="446475"/>
            <a:ext cx="9324988" cy="246221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buNone/>
              <a:defRPr sz="1600"/>
            </a:lvl1pPr>
          </a:lstStyle>
          <a:p>
            <a:pPr lvl="0"/>
            <a:r>
              <a:rPr lang="de-DE" noProof="0"/>
              <a:t>Text bearbeiten</a:t>
            </a:r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id="{8AB19961-057E-47DE-B541-EE9F7EA301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79424" y="1628800"/>
            <a:ext cx="11233150" cy="246221"/>
          </a:xfrm>
        </p:spPr>
        <p:txBody>
          <a:bodyPr anchor="t" anchorCtr="0">
            <a:sp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accent3"/>
                </a:solidFill>
              </a:defRPr>
            </a:lvl1pPr>
            <a:lvl2pPr marL="0" indent="0">
              <a:lnSpc>
                <a:spcPct val="100000"/>
              </a:lnSpc>
              <a:buNone/>
              <a:defRPr sz="1600">
                <a:solidFill>
                  <a:schemeClr val="accent3"/>
                </a:solidFill>
              </a:defRPr>
            </a:lvl2pPr>
            <a:lvl3pPr marL="0" indent="0">
              <a:lnSpc>
                <a:spcPct val="100000"/>
              </a:lnSpc>
              <a:buNone/>
              <a:defRPr sz="1600">
                <a:solidFill>
                  <a:schemeClr val="accent3"/>
                </a:solidFill>
              </a:defRPr>
            </a:lvl3pPr>
            <a:lvl4pPr marL="0" indent="0">
              <a:lnSpc>
                <a:spcPct val="100000"/>
              </a:lnSpc>
              <a:buNone/>
              <a:defRPr sz="1600">
                <a:solidFill>
                  <a:schemeClr val="accent3"/>
                </a:solidFill>
              </a:defRPr>
            </a:lvl4pPr>
            <a:lvl5pPr marL="0" indent="0">
              <a:lnSpc>
                <a:spcPct val="100000"/>
              </a:lnSpc>
              <a:buNone/>
              <a:defRPr sz="1600">
                <a:solidFill>
                  <a:schemeClr val="accent3"/>
                </a:solidFill>
              </a:defRPr>
            </a:lvl5pPr>
            <a:lvl6pPr marL="0" indent="0">
              <a:lnSpc>
                <a:spcPct val="100000"/>
              </a:lnSpc>
              <a:buNone/>
              <a:defRPr sz="1600">
                <a:solidFill>
                  <a:schemeClr val="accent3"/>
                </a:solidFill>
              </a:defRPr>
            </a:lvl6pPr>
            <a:lvl7pPr marL="0" indent="0">
              <a:lnSpc>
                <a:spcPct val="100000"/>
              </a:lnSpc>
              <a:buNone/>
              <a:defRPr sz="1600">
                <a:solidFill>
                  <a:schemeClr val="accent3"/>
                </a:solidFill>
              </a:defRPr>
            </a:lvl7pPr>
            <a:lvl8pPr marL="0" indent="0">
              <a:lnSpc>
                <a:spcPct val="100000"/>
              </a:lnSpc>
              <a:buNone/>
              <a:defRPr sz="1600">
                <a:solidFill>
                  <a:schemeClr val="accent3"/>
                </a:solidFill>
              </a:defRPr>
            </a:lvl8pPr>
            <a:lvl9pPr marL="0" indent="0">
              <a:lnSpc>
                <a:spcPct val="100000"/>
              </a:lnSpc>
              <a:buNone/>
              <a:defRPr sz="1600">
                <a:solidFill>
                  <a:schemeClr val="accent3"/>
                </a:solidFill>
              </a:defRPr>
            </a:lvl9pPr>
          </a:lstStyle>
          <a:p>
            <a:pPr lvl="0"/>
            <a:r>
              <a:rPr lang="de-DE" noProof="0"/>
              <a:t>Subheadline bearbeiten (optional)</a:t>
            </a:r>
          </a:p>
        </p:txBody>
      </p:sp>
      <p:sp>
        <p:nvSpPr>
          <p:cNvPr id="11" name="Datumsplatzhalter 10">
            <a:extLst>
              <a:ext uri="{FF2B5EF4-FFF2-40B4-BE49-F238E27FC236}">
                <a16:creationId xmlns:a16="http://schemas.microsoft.com/office/drawing/2014/main" id="{41B112E9-A2DC-4EB6-B78F-0D252C4DF0BD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de-DE" noProof="0"/>
              <a:t>17.07.2024</a:t>
            </a:r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076BBAF6-0156-4F5E-8815-52DA8B718A2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de-DE" noProof="0"/>
              <a:t>Klassifizierung nicht vertraulich</a:t>
            </a:r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C67F82BB-5367-4E67-978C-7F6154DB031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645586CC-6D24-4895-9441-71B1281C15CA}" type="slidenum">
              <a:rPr lang="de-DE" noProof="0" smtClean="0"/>
              <a:pPr/>
              <a:t>‹Nr.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09080604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11">
            <a:extLst>
              <a:ext uri="{FF2B5EF4-FFF2-40B4-BE49-F238E27FC236}">
                <a16:creationId xmlns:a16="http://schemas.microsoft.com/office/drawing/2014/main" id="{24FD4939-4642-47EE-BB19-154A1711A6E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0" y="428"/>
            <a:ext cx="12192000" cy="6857143"/>
          </a:xfrm>
          <a:solidFill>
            <a:schemeClr val="tx2"/>
          </a:solidFill>
          <a:ln>
            <a:noFill/>
          </a:ln>
        </p:spPr>
        <p:txBody>
          <a:bodyPr lIns="72000" tIns="72000" rIns="72000" bIns="72000" anchor="ctr" anchorCtr="0"/>
          <a:lstStyle>
            <a:lvl1pPr marL="0" indent="0" algn="ctr">
              <a:buNone/>
              <a:defRPr>
                <a:solidFill>
                  <a:schemeClr val="accent6"/>
                </a:solidFill>
              </a:defRPr>
            </a:lvl1pPr>
          </a:lstStyle>
          <a:p>
            <a:r>
              <a:rPr lang="de-DE" noProof="0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128782628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11">
            <a:extLst>
              <a:ext uri="{FF2B5EF4-FFF2-40B4-BE49-F238E27FC236}">
                <a16:creationId xmlns:a16="http://schemas.microsoft.com/office/drawing/2014/main" id="{361BECDF-FA32-418A-80C9-EB9239F0FE6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479376" y="1124744"/>
            <a:ext cx="11232000" cy="4788694"/>
          </a:xfrm>
          <a:solidFill>
            <a:schemeClr val="tx2"/>
          </a:solidFill>
          <a:ln>
            <a:noFill/>
          </a:ln>
        </p:spPr>
        <p:txBody>
          <a:bodyPr lIns="72000" tIns="72000" rIns="72000" bIns="72000" anchor="ctr" anchorCtr="0"/>
          <a:lstStyle>
            <a:lvl1pPr marL="0" indent="0" algn="ctr">
              <a:buNone/>
              <a:defRPr>
                <a:solidFill>
                  <a:schemeClr val="accent6"/>
                </a:solidFill>
              </a:defRPr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5" name="Textplatzhalter 7">
            <a:extLst>
              <a:ext uri="{FF2B5EF4-FFF2-40B4-BE49-F238E27FC236}">
                <a16:creationId xmlns:a16="http://schemas.microsoft.com/office/drawing/2014/main" id="{02CFB352-1556-4B43-B003-751CB2D206F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9424" y="446475"/>
            <a:ext cx="9324988" cy="246221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buNone/>
              <a:defRPr sz="1600"/>
            </a:lvl1pPr>
          </a:lstStyle>
          <a:p>
            <a:pPr lvl="0"/>
            <a:r>
              <a:rPr lang="de-DE" noProof="0"/>
              <a:t>Tex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2EF9DF0-D1A3-449E-A468-BD1AC5B05EB4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r>
              <a:rPr lang="de-DE" noProof="0"/>
              <a:t>17.07.2024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D5D6E30-A1FC-4418-8538-DE1BD7D4F1B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de-DE" noProof="0"/>
              <a:t>Klassifizierung nicht vertraulich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41B0C93-9931-4BE6-BE2D-95C226AAE85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645586CC-6D24-4895-9441-71B1281C15CA}" type="slidenum">
              <a:rPr lang="de-DE" noProof="0" smtClean="0"/>
              <a:pPr/>
              <a:t>‹Nr.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76430666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Vollbild -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09FBB662-6F78-4C8C-9E07-B10FFEFE27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94680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09FBB662-6F78-4C8C-9E07-B10FFEFE27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7">
            <a:extLst>
              <a:ext uri="{FF2B5EF4-FFF2-40B4-BE49-F238E27FC236}">
                <a16:creationId xmlns:a16="http://schemas.microsoft.com/office/drawing/2014/main" id="{02CFB352-1556-4B43-B003-751CB2D206F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9424" y="446475"/>
            <a:ext cx="9324988" cy="246221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buNone/>
              <a:defRPr sz="1600"/>
            </a:lvl1pPr>
          </a:lstStyle>
          <a:p>
            <a:pPr lvl="0"/>
            <a:r>
              <a:rPr lang="de-DE" noProof="0"/>
              <a:t>Text bearbeiten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46FA9D53-9759-4395-A13D-E4BC91E368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de-DE" noProof="0"/>
              <a:t>Headline bearbeiten</a:t>
            </a:r>
          </a:p>
        </p:txBody>
      </p:sp>
      <p:sp>
        <p:nvSpPr>
          <p:cNvPr id="11" name="Bildplatzhalter 11">
            <a:extLst>
              <a:ext uri="{FF2B5EF4-FFF2-40B4-BE49-F238E27FC236}">
                <a16:creationId xmlns:a16="http://schemas.microsoft.com/office/drawing/2014/main" id="{2124FB00-59D0-47E2-B951-1EF3B2248EF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479424" y="1664803"/>
            <a:ext cx="11233149" cy="4248635"/>
          </a:xfrm>
          <a:solidFill>
            <a:schemeClr val="tx2"/>
          </a:solidFill>
          <a:ln>
            <a:noFill/>
          </a:ln>
        </p:spPr>
        <p:txBody>
          <a:bodyPr lIns="72000" tIns="72000" rIns="72000" bIns="72000" anchor="ctr" anchorCtr="0"/>
          <a:lstStyle>
            <a:lvl1pPr marL="0" indent="0" algn="ctr">
              <a:buNone/>
              <a:defRPr>
                <a:solidFill>
                  <a:schemeClr val="accent6"/>
                </a:solidFill>
              </a:defRPr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id="{65F3FDC8-C858-4661-A691-2C46A1F09DAB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r>
              <a:rPr lang="de-DE" noProof="0"/>
              <a:t>17.07.2024</a:t>
            </a:r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733F5D9D-1419-44FF-9906-2F44108261C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de-DE" noProof="0"/>
              <a:t>Klassifizierung nicht vertraulich</a:t>
            </a:r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D5F6BC71-9DD8-49C5-9DD0-2A97DF54473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645586CC-6D24-4895-9441-71B1281C15CA}" type="slidenum">
              <a:rPr lang="de-DE" noProof="0" smtClean="0"/>
              <a:pPr/>
              <a:t>‹Nr.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384206725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zwei Bil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7E2E3A5C-8598-4556-9B26-40205073D4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45006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7E2E3A5C-8598-4556-9B26-40205073D4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7">
            <a:extLst>
              <a:ext uri="{FF2B5EF4-FFF2-40B4-BE49-F238E27FC236}">
                <a16:creationId xmlns:a16="http://schemas.microsoft.com/office/drawing/2014/main" id="{02CFB352-1556-4B43-B003-751CB2D206F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9424" y="446475"/>
            <a:ext cx="9324988" cy="246221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buNone/>
              <a:defRPr sz="1600"/>
            </a:lvl1pPr>
          </a:lstStyle>
          <a:p>
            <a:pPr lvl="0"/>
            <a:r>
              <a:rPr lang="de-DE" noProof="0"/>
              <a:t>Text bearbeiten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46FA9D53-9759-4395-A13D-E4BC91E368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de-DE" noProof="0"/>
              <a:t>Headline bearbeiten</a:t>
            </a:r>
          </a:p>
        </p:txBody>
      </p:sp>
      <p:sp>
        <p:nvSpPr>
          <p:cNvPr id="11" name="Bildplatzhalter 11">
            <a:extLst>
              <a:ext uri="{FF2B5EF4-FFF2-40B4-BE49-F238E27FC236}">
                <a16:creationId xmlns:a16="http://schemas.microsoft.com/office/drawing/2014/main" id="{2124FB00-59D0-47E2-B951-1EF3B2248EF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479424" y="1664803"/>
            <a:ext cx="5545139" cy="4248635"/>
          </a:xfrm>
          <a:solidFill>
            <a:schemeClr val="tx2"/>
          </a:solidFill>
          <a:ln>
            <a:noFill/>
          </a:ln>
        </p:spPr>
        <p:txBody>
          <a:bodyPr lIns="72000" tIns="72000" rIns="72000" bIns="72000" anchor="ctr" anchorCtr="0"/>
          <a:lstStyle>
            <a:lvl1pPr marL="0" indent="0" algn="ctr">
              <a:buNone/>
              <a:defRPr>
                <a:solidFill>
                  <a:schemeClr val="accent6"/>
                </a:solidFill>
              </a:defRPr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8" name="Bildplatzhalter 11">
            <a:extLst>
              <a:ext uri="{FF2B5EF4-FFF2-40B4-BE49-F238E27FC236}">
                <a16:creationId xmlns:a16="http://schemas.microsoft.com/office/drawing/2014/main" id="{E49B53CA-1825-43AC-BB20-2D0D15C6CC4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6167438" y="1664803"/>
            <a:ext cx="5545137" cy="4248635"/>
          </a:xfrm>
          <a:solidFill>
            <a:schemeClr val="tx2"/>
          </a:solidFill>
          <a:ln>
            <a:noFill/>
          </a:ln>
        </p:spPr>
        <p:txBody>
          <a:bodyPr lIns="72000" tIns="72000" rIns="72000" bIns="72000" anchor="ctr" anchorCtr="0"/>
          <a:lstStyle>
            <a:lvl1pPr marL="0" indent="0" algn="ctr">
              <a:buNone/>
              <a:defRPr>
                <a:solidFill>
                  <a:schemeClr val="accent6"/>
                </a:solidFill>
              </a:defRPr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1D60FC24-721C-42C8-AAB7-A2EC390CABDC}"/>
              </a:ext>
            </a:extLst>
          </p:cNvPr>
          <p:cNvSpPr>
            <a:spLocks noGrp="1"/>
          </p:cNvSpPr>
          <p:nvPr>
            <p:ph type="dt" sz="half" idx="17"/>
          </p:nvPr>
        </p:nvSpPr>
        <p:spPr bwMode="gray"/>
        <p:txBody>
          <a:bodyPr/>
          <a:lstStyle/>
          <a:p>
            <a:r>
              <a:rPr lang="de-DE" noProof="0"/>
              <a:t>17.07.2024</a:t>
            </a:r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C7A25208-FA9B-49E4-80F1-877161CE9DA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 bwMode="gray"/>
        <p:txBody>
          <a:bodyPr/>
          <a:lstStyle/>
          <a:p>
            <a:r>
              <a:rPr lang="de-DE" noProof="0"/>
              <a:t>Klassifizierung nicht vertraulich</a:t>
            </a:r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41EA404B-7FD8-4ACD-8CF9-50A8B7FFA7B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 bwMode="gray"/>
        <p:txBody>
          <a:bodyPr/>
          <a:lstStyle/>
          <a:p>
            <a:fld id="{645586CC-6D24-4895-9441-71B1281C15CA}" type="slidenum">
              <a:rPr lang="de-DE" noProof="0" smtClean="0"/>
              <a:pPr/>
              <a:t>‹Nr.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00681043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zwei Bildern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A3EB3D8-D97E-415C-8381-6F38D9FE0E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85277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5A3EB3D8-D97E-415C-8381-6F38D9FE0E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7">
            <a:extLst>
              <a:ext uri="{FF2B5EF4-FFF2-40B4-BE49-F238E27FC236}">
                <a16:creationId xmlns:a16="http://schemas.microsoft.com/office/drawing/2014/main" id="{02CFB352-1556-4B43-B003-751CB2D206F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9424" y="446475"/>
            <a:ext cx="9324988" cy="246221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buNone/>
              <a:defRPr sz="1600"/>
            </a:lvl1pPr>
          </a:lstStyle>
          <a:p>
            <a:pPr lvl="0"/>
            <a:r>
              <a:rPr lang="de-DE" noProof="0"/>
              <a:t>Text bearbeiten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46FA9D53-9759-4395-A13D-E4BC91E368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de-DE" noProof="0"/>
              <a:t>Headline bearbeiten</a:t>
            </a:r>
          </a:p>
        </p:txBody>
      </p:sp>
      <p:sp>
        <p:nvSpPr>
          <p:cNvPr id="11" name="Bildplatzhalter 11">
            <a:extLst>
              <a:ext uri="{FF2B5EF4-FFF2-40B4-BE49-F238E27FC236}">
                <a16:creationId xmlns:a16="http://schemas.microsoft.com/office/drawing/2014/main" id="{2124FB00-59D0-47E2-B951-1EF3B2248EF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479376" y="1664804"/>
            <a:ext cx="4428444" cy="3960000"/>
          </a:xfrm>
          <a:solidFill>
            <a:schemeClr val="tx2"/>
          </a:solidFill>
          <a:ln>
            <a:noFill/>
          </a:ln>
        </p:spPr>
        <p:txBody>
          <a:bodyPr lIns="72000" tIns="72000" rIns="72000" bIns="72000" anchor="ctr" anchorCtr="0"/>
          <a:lstStyle>
            <a:lvl1pPr marL="0" indent="0" algn="ctr">
              <a:buNone/>
              <a:defRPr>
                <a:solidFill>
                  <a:schemeClr val="accent6"/>
                </a:solidFill>
              </a:defRPr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10" name="Bildplatzhalter 11">
            <a:extLst>
              <a:ext uri="{FF2B5EF4-FFF2-40B4-BE49-F238E27FC236}">
                <a16:creationId xmlns:a16="http://schemas.microsoft.com/office/drawing/2014/main" id="{A05B65F1-9040-4CD7-94DD-38F9BA74CB4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5015928" y="1664804"/>
            <a:ext cx="4428444" cy="3960000"/>
          </a:xfrm>
          <a:solidFill>
            <a:schemeClr val="tx2"/>
          </a:solidFill>
          <a:ln>
            <a:noFill/>
          </a:ln>
        </p:spPr>
        <p:txBody>
          <a:bodyPr lIns="72000" tIns="72000" rIns="72000" bIns="72000" anchor="ctr" anchorCtr="0"/>
          <a:lstStyle>
            <a:lvl1pPr marL="0" indent="0" algn="ctr">
              <a:buNone/>
              <a:defRPr>
                <a:solidFill>
                  <a:schemeClr val="accent6"/>
                </a:solidFill>
              </a:defRPr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13" name="Textplatzhalter 11">
            <a:extLst>
              <a:ext uri="{FF2B5EF4-FFF2-40B4-BE49-F238E27FC236}">
                <a16:creationId xmlns:a16="http://schemas.microsoft.com/office/drawing/2014/main" id="{873114D0-90CF-4107-B98A-425C7907A4C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9552384" y="1664804"/>
            <a:ext cx="2160191" cy="3960440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pPr lvl="0"/>
            <a:r>
              <a:rPr lang="de-DE" noProof="0"/>
              <a:t>Text bearbeiten</a:t>
            </a:r>
          </a:p>
        </p:txBody>
      </p:sp>
      <p:sp>
        <p:nvSpPr>
          <p:cNvPr id="14" name="Textplatzhalter 11">
            <a:extLst>
              <a:ext uri="{FF2B5EF4-FFF2-40B4-BE49-F238E27FC236}">
                <a16:creationId xmlns:a16="http://schemas.microsoft.com/office/drawing/2014/main" id="{09300616-48AC-4AC3-BAB7-32AFC808EF5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79376" y="5697252"/>
            <a:ext cx="4428443" cy="21544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pPr lvl="0"/>
            <a:r>
              <a:rPr lang="de-DE" noProof="0"/>
              <a:t>Text bearbeiten</a:t>
            </a:r>
          </a:p>
        </p:txBody>
      </p:sp>
      <p:sp>
        <p:nvSpPr>
          <p:cNvPr id="15" name="Textplatzhalter 11">
            <a:extLst>
              <a:ext uri="{FF2B5EF4-FFF2-40B4-BE49-F238E27FC236}">
                <a16:creationId xmlns:a16="http://schemas.microsoft.com/office/drawing/2014/main" id="{261A4749-5F87-4F99-AA33-FAF302EAC7B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015928" y="5697252"/>
            <a:ext cx="4428443" cy="21544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pPr lvl="0"/>
            <a:r>
              <a:rPr lang="de-DE" noProof="0"/>
              <a:t>Text bearbeiten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C6611895-F554-4C92-9FE6-AF51DC7751C7}"/>
              </a:ext>
            </a:extLst>
          </p:cNvPr>
          <p:cNvSpPr>
            <a:spLocks noGrp="1"/>
          </p:cNvSpPr>
          <p:nvPr>
            <p:ph type="dt" sz="half" idx="20"/>
          </p:nvPr>
        </p:nvSpPr>
        <p:spPr bwMode="gray"/>
        <p:txBody>
          <a:bodyPr/>
          <a:lstStyle/>
          <a:p>
            <a:r>
              <a:rPr lang="de-DE" noProof="0"/>
              <a:t>17.07.2024</a:t>
            </a:r>
          </a:p>
        </p:txBody>
      </p:sp>
      <p:sp>
        <p:nvSpPr>
          <p:cNvPr id="12" name="Fußzeilenplatzhalter 11">
            <a:extLst>
              <a:ext uri="{FF2B5EF4-FFF2-40B4-BE49-F238E27FC236}">
                <a16:creationId xmlns:a16="http://schemas.microsoft.com/office/drawing/2014/main" id="{5E1157F2-3A6E-4C19-AF3E-DC09D80D10EE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 bwMode="gray"/>
        <p:txBody>
          <a:bodyPr/>
          <a:lstStyle/>
          <a:p>
            <a:r>
              <a:rPr lang="de-DE" noProof="0"/>
              <a:t>Klassifizierung nicht vertraulich</a:t>
            </a:r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15F94FAE-2C55-4B7B-B995-F7B97E68F4E9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 bwMode="gray"/>
        <p:txBody>
          <a:bodyPr/>
          <a:lstStyle/>
          <a:p>
            <a:fld id="{645586CC-6D24-4895-9441-71B1281C15CA}" type="slidenum">
              <a:rPr lang="de-DE" noProof="0" smtClean="0"/>
              <a:pPr/>
              <a:t>‹Nr.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154883813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vier Bildern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7">
            <a:extLst>
              <a:ext uri="{FF2B5EF4-FFF2-40B4-BE49-F238E27FC236}">
                <a16:creationId xmlns:a16="http://schemas.microsoft.com/office/drawing/2014/main" id="{02CFB352-1556-4B43-B003-751CB2D206F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9424" y="446475"/>
            <a:ext cx="9324988" cy="246221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buNone/>
              <a:defRPr sz="1600"/>
            </a:lvl1pPr>
          </a:lstStyle>
          <a:p>
            <a:pPr lvl="0"/>
            <a:r>
              <a:rPr lang="de-DE" noProof="0"/>
              <a:t>Text bearbeiten</a:t>
            </a:r>
          </a:p>
        </p:txBody>
      </p:sp>
      <p:sp>
        <p:nvSpPr>
          <p:cNvPr id="11" name="Bildplatzhalter 11">
            <a:extLst>
              <a:ext uri="{FF2B5EF4-FFF2-40B4-BE49-F238E27FC236}">
                <a16:creationId xmlns:a16="http://schemas.microsoft.com/office/drawing/2014/main" id="{2124FB00-59D0-47E2-B951-1EF3B2248EF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479425" y="1124745"/>
            <a:ext cx="4428444" cy="2340000"/>
          </a:xfrm>
          <a:solidFill>
            <a:schemeClr val="tx2"/>
          </a:solidFill>
          <a:ln>
            <a:noFill/>
          </a:ln>
        </p:spPr>
        <p:txBody>
          <a:bodyPr lIns="72000" tIns="72000" rIns="72000" bIns="72000" anchor="ctr" anchorCtr="0"/>
          <a:lstStyle>
            <a:lvl1pPr marL="0" indent="0" algn="ctr">
              <a:buNone/>
              <a:defRPr>
                <a:solidFill>
                  <a:schemeClr val="accent6"/>
                </a:solidFill>
              </a:defRPr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10" name="Bildplatzhalter 11">
            <a:extLst>
              <a:ext uri="{FF2B5EF4-FFF2-40B4-BE49-F238E27FC236}">
                <a16:creationId xmlns:a16="http://schemas.microsoft.com/office/drawing/2014/main" id="{A05B65F1-9040-4CD7-94DD-38F9BA74CB4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5015880" y="1124745"/>
            <a:ext cx="4428444" cy="2340000"/>
          </a:xfrm>
          <a:solidFill>
            <a:schemeClr val="tx2"/>
          </a:solidFill>
          <a:ln>
            <a:noFill/>
          </a:ln>
        </p:spPr>
        <p:txBody>
          <a:bodyPr lIns="72000" tIns="72000" rIns="72000" bIns="72000" anchor="ctr" anchorCtr="0"/>
          <a:lstStyle>
            <a:lvl1pPr marL="0" indent="0" algn="ctr">
              <a:buNone/>
              <a:defRPr>
                <a:solidFill>
                  <a:schemeClr val="accent6"/>
                </a:solidFill>
              </a:defRPr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13" name="Textplatzhalter 11">
            <a:extLst>
              <a:ext uri="{FF2B5EF4-FFF2-40B4-BE49-F238E27FC236}">
                <a16:creationId xmlns:a16="http://schemas.microsoft.com/office/drawing/2014/main" id="{873114D0-90CF-4107-B98A-425C7907A4C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9552384" y="1124744"/>
            <a:ext cx="2160191" cy="2340000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pPr lvl="0"/>
            <a:r>
              <a:rPr lang="de-DE" noProof="0"/>
              <a:t>Text bearbeiten</a:t>
            </a:r>
          </a:p>
        </p:txBody>
      </p:sp>
      <p:sp>
        <p:nvSpPr>
          <p:cNvPr id="16" name="Bildplatzhalter 11">
            <a:extLst>
              <a:ext uri="{FF2B5EF4-FFF2-40B4-BE49-F238E27FC236}">
                <a16:creationId xmlns:a16="http://schemas.microsoft.com/office/drawing/2014/main" id="{0741CE4D-3CD8-4650-A138-C280F36A7429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 bwMode="gray">
          <a:xfrm>
            <a:off x="479425" y="3573276"/>
            <a:ext cx="4428444" cy="2340000"/>
          </a:xfrm>
          <a:solidFill>
            <a:schemeClr val="tx2"/>
          </a:solidFill>
          <a:ln>
            <a:noFill/>
          </a:ln>
        </p:spPr>
        <p:txBody>
          <a:bodyPr lIns="72000" tIns="72000" rIns="72000" bIns="72000" anchor="ctr" anchorCtr="0"/>
          <a:lstStyle>
            <a:lvl1pPr marL="0" indent="0" algn="ctr">
              <a:buNone/>
              <a:defRPr>
                <a:solidFill>
                  <a:schemeClr val="accent6"/>
                </a:solidFill>
              </a:defRPr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17" name="Bildplatzhalter 11">
            <a:extLst>
              <a:ext uri="{FF2B5EF4-FFF2-40B4-BE49-F238E27FC236}">
                <a16:creationId xmlns:a16="http://schemas.microsoft.com/office/drawing/2014/main" id="{0EEFDAC9-BB83-4664-801C-376F5E635AC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 bwMode="gray">
          <a:xfrm>
            <a:off x="5015880" y="3573276"/>
            <a:ext cx="4428444" cy="2340000"/>
          </a:xfrm>
          <a:solidFill>
            <a:schemeClr val="tx2"/>
          </a:solidFill>
          <a:ln>
            <a:noFill/>
          </a:ln>
        </p:spPr>
        <p:txBody>
          <a:bodyPr lIns="72000" tIns="72000" rIns="72000" bIns="72000" anchor="ctr" anchorCtr="0"/>
          <a:lstStyle>
            <a:lvl1pPr marL="0" indent="0" algn="ctr">
              <a:buNone/>
              <a:defRPr>
                <a:solidFill>
                  <a:schemeClr val="accent6"/>
                </a:solidFill>
              </a:defRPr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18" name="Textplatzhalter 11">
            <a:extLst>
              <a:ext uri="{FF2B5EF4-FFF2-40B4-BE49-F238E27FC236}">
                <a16:creationId xmlns:a16="http://schemas.microsoft.com/office/drawing/2014/main" id="{2645ED46-1EA5-4E40-A589-BFA157FAB62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9552384" y="3573275"/>
            <a:ext cx="2160191" cy="2340000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pPr lvl="0"/>
            <a:r>
              <a:rPr lang="de-DE" noProof="0"/>
              <a:t>Tex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EA9246D-06EE-4EED-8776-1BBE6B7D09D2}"/>
              </a:ext>
            </a:extLst>
          </p:cNvPr>
          <p:cNvSpPr>
            <a:spLocks noGrp="1"/>
          </p:cNvSpPr>
          <p:nvPr>
            <p:ph type="dt" sz="half" idx="24"/>
          </p:nvPr>
        </p:nvSpPr>
        <p:spPr bwMode="gray"/>
        <p:txBody>
          <a:bodyPr/>
          <a:lstStyle/>
          <a:p>
            <a:r>
              <a:rPr lang="de-DE" noProof="0"/>
              <a:t>17.07.2024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8FA2AFA-BCBF-46D5-93CB-9D66148F0CEC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 bwMode="gray"/>
        <p:txBody>
          <a:bodyPr/>
          <a:lstStyle/>
          <a:p>
            <a:r>
              <a:rPr lang="de-DE" noProof="0"/>
              <a:t>Klassifizierung nicht vertraulich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242B1BF-0834-413C-858E-4866B2E6B815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 bwMode="gray"/>
        <p:txBody>
          <a:bodyPr/>
          <a:lstStyle/>
          <a:p>
            <a:fld id="{645586CC-6D24-4895-9441-71B1281C15CA}" type="slidenum">
              <a:rPr lang="de-DE" noProof="0" smtClean="0"/>
              <a:pPr/>
              <a:t>‹Nr.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165234394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drei Bil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B1DBB21B-5D6C-4046-9FE1-6FA76D707F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12562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B1DBB21B-5D6C-4046-9FE1-6FA76D707F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7">
            <a:extLst>
              <a:ext uri="{FF2B5EF4-FFF2-40B4-BE49-F238E27FC236}">
                <a16:creationId xmlns:a16="http://schemas.microsoft.com/office/drawing/2014/main" id="{02CFB352-1556-4B43-B003-751CB2D206F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9424" y="446475"/>
            <a:ext cx="9324988" cy="246221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buNone/>
              <a:defRPr sz="1600"/>
            </a:lvl1pPr>
          </a:lstStyle>
          <a:p>
            <a:pPr lvl="0"/>
            <a:r>
              <a:rPr lang="de-DE" noProof="0"/>
              <a:t>Text bearbeiten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46FA9D53-9759-4395-A13D-E4BC91E368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de-DE" noProof="0"/>
              <a:t>Folientitel bearbeiten</a:t>
            </a:r>
          </a:p>
        </p:txBody>
      </p:sp>
      <p:sp>
        <p:nvSpPr>
          <p:cNvPr id="11" name="Bildplatzhalter 11">
            <a:extLst>
              <a:ext uri="{FF2B5EF4-FFF2-40B4-BE49-F238E27FC236}">
                <a16:creationId xmlns:a16="http://schemas.microsoft.com/office/drawing/2014/main" id="{2124FB00-59D0-47E2-B951-1EF3B2248EF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479376" y="1664802"/>
            <a:ext cx="3312319" cy="3960000"/>
          </a:xfrm>
          <a:solidFill>
            <a:schemeClr val="tx2"/>
          </a:solidFill>
          <a:ln>
            <a:noFill/>
          </a:ln>
        </p:spPr>
        <p:txBody>
          <a:bodyPr lIns="72000" tIns="72000" rIns="72000" bIns="72000" anchor="ctr" anchorCtr="0"/>
          <a:lstStyle>
            <a:lvl1pPr marL="0" indent="0" algn="ctr">
              <a:buNone/>
              <a:defRPr>
                <a:solidFill>
                  <a:schemeClr val="accent6"/>
                </a:solidFill>
              </a:defRPr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14" name="Textplatzhalter 11">
            <a:extLst>
              <a:ext uri="{FF2B5EF4-FFF2-40B4-BE49-F238E27FC236}">
                <a16:creationId xmlns:a16="http://schemas.microsoft.com/office/drawing/2014/main" id="{09300616-48AC-4AC3-BAB7-32AFC808EF5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79376" y="5697252"/>
            <a:ext cx="3312319" cy="21544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pPr lvl="0"/>
            <a:r>
              <a:rPr lang="de-DE" noProof="0"/>
              <a:t>Text bearbeiten</a:t>
            </a:r>
          </a:p>
        </p:txBody>
      </p:sp>
      <p:sp>
        <p:nvSpPr>
          <p:cNvPr id="16" name="Bildplatzhalter 11">
            <a:extLst>
              <a:ext uri="{FF2B5EF4-FFF2-40B4-BE49-F238E27FC236}">
                <a16:creationId xmlns:a16="http://schemas.microsoft.com/office/drawing/2014/main" id="{CBD11018-A15E-48A8-8E6D-DEE67C0C9F9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 bwMode="gray">
          <a:xfrm>
            <a:off x="3899756" y="1664802"/>
            <a:ext cx="3312319" cy="3960000"/>
          </a:xfrm>
          <a:solidFill>
            <a:schemeClr val="tx2"/>
          </a:solidFill>
          <a:ln>
            <a:noFill/>
          </a:ln>
        </p:spPr>
        <p:txBody>
          <a:bodyPr lIns="72000" tIns="72000" rIns="72000" bIns="72000" anchor="ctr" anchorCtr="0"/>
          <a:lstStyle>
            <a:lvl1pPr marL="0" indent="0" algn="ctr">
              <a:buNone/>
              <a:defRPr>
                <a:solidFill>
                  <a:schemeClr val="accent6"/>
                </a:solidFill>
              </a:defRPr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17" name="Textplatzhalter 11">
            <a:extLst>
              <a:ext uri="{FF2B5EF4-FFF2-40B4-BE49-F238E27FC236}">
                <a16:creationId xmlns:a16="http://schemas.microsoft.com/office/drawing/2014/main" id="{AA592DBD-48A9-443A-9288-61C40922128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899756" y="5697252"/>
            <a:ext cx="3312319" cy="21544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pPr lvl="0"/>
            <a:r>
              <a:rPr lang="de-DE" noProof="0"/>
              <a:t>Text bearbeiten</a:t>
            </a:r>
          </a:p>
        </p:txBody>
      </p:sp>
      <p:sp>
        <p:nvSpPr>
          <p:cNvPr id="18" name="Bildplatzhalter 11">
            <a:extLst>
              <a:ext uri="{FF2B5EF4-FFF2-40B4-BE49-F238E27FC236}">
                <a16:creationId xmlns:a16="http://schemas.microsoft.com/office/drawing/2014/main" id="{97AB18CC-C1A1-461A-9A6E-795CE358A14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 bwMode="gray">
          <a:xfrm>
            <a:off x="7320136" y="1664802"/>
            <a:ext cx="3312319" cy="3960000"/>
          </a:xfrm>
          <a:solidFill>
            <a:schemeClr val="tx2"/>
          </a:solidFill>
          <a:ln>
            <a:noFill/>
          </a:ln>
        </p:spPr>
        <p:txBody>
          <a:bodyPr lIns="72000" tIns="72000" rIns="72000" bIns="72000" anchor="ctr" anchorCtr="0"/>
          <a:lstStyle>
            <a:lvl1pPr marL="0" indent="0" algn="ctr">
              <a:buNone/>
              <a:defRPr>
                <a:solidFill>
                  <a:schemeClr val="accent6"/>
                </a:solidFill>
              </a:defRPr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19" name="Textplatzhalter 11">
            <a:extLst>
              <a:ext uri="{FF2B5EF4-FFF2-40B4-BE49-F238E27FC236}">
                <a16:creationId xmlns:a16="http://schemas.microsoft.com/office/drawing/2014/main" id="{0D66466C-03E1-478C-817A-319C401E1D5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7320136" y="5697252"/>
            <a:ext cx="3312319" cy="21544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pPr lvl="0"/>
            <a:r>
              <a:rPr lang="de-DE" noProof="0"/>
              <a:t>Text bearbeiten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DA0339-017D-47F1-9DED-31D478D5D203}"/>
              </a:ext>
            </a:extLst>
          </p:cNvPr>
          <p:cNvSpPr>
            <a:spLocks noGrp="1"/>
          </p:cNvSpPr>
          <p:nvPr>
            <p:ph type="dt" sz="half" idx="23"/>
          </p:nvPr>
        </p:nvSpPr>
        <p:spPr bwMode="gray"/>
        <p:txBody>
          <a:bodyPr/>
          <a:lstStyle/>
          <a:p>
            <a:r>
              <a:rPr lang="de-DE" noProof="0"/>
              <a:t>17.07.2024</a:t>
            </a:r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5C58C7FC-719A-49DD-9F04-13E88A1E38F0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 bwMode="gray"/>
        <p:txBody>
          <a:bodyPr/>
          <a:lstStyle/>
          <a:p>
            <a:r>
              <a:rPr lang="de-DE" noProof="0"/>
              <a:t>Klassifizierung nicht vertraulich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0A4F2D12-9A24-45FE-BA6E-D6985D040F1F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 bwMode="gray"/>
        <p:txBody>
          <a:bodyPr/>
          <a:lstStyle/>
          <a:p>
            <a:fld id="{645586CC-6D24-4895-9441-71B1281C15CA}" type="slidenum">
              <a:rPr lang="de-DE" noProof="0" smtClean="0"/>
              <a:pPr/>
              <a:t>‹Nr.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194848706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- Varian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4CA3E7C9-B1E8-416A-9DA3-8E616F64FC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58666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4CA3E7C9-B1E8-416A-9DA3-8E616F64FC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>
            <a:extLst>
              <a:ext uri="{FF2B5EF4-FFF2-40B4-BE49-F238E27FC236}">
                <a16:creationId xmlns:a16="http://schemas.microsoft.com/office/drawing/2014/main" id="{0519D3CF-2557-41AF-B6FC-1D44390069D3}"/>
              </a:ext>
            </a:extLst>
          </p:cNvPr>
          <p:cNvSpPr/>
          <p:nvPr userDrawn="1"/>
        </p:nvSpPr>
        <p:spPr bwMode="gray">
          <a:xfrm>
            <a:off x="0" y="1341438"/>
            <a:ext cx="12192000" cy="55165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noProof="0"/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C895C628-6C03-4B89-B8DD-D03480A16929}"/>
              </a:ext>
            </a:extLst>
          </p:cNvPr>
          <p:cNvSpPr/>
          <p:nvPr userDrawn="1"/>
        </p:nvSpPr>
        <p:spPr bwMode="gray">
          <a:xfrm>
            <a:off x="6240486" y="2888793"/>
            <a:ext cx="5951515" cy="3969207"/>
          </a:xfrm>
          <a:custGeom>
            <a:avLst/>
            <a:gdLst>
              <a:gd name="connsiteX0" fmla="*/ 2944016 w 5951515"/>
              <a:gd name="connsiteY0" fmla="*/ 0 h 3969207"/>
              <a:gd name="connsiteX1" fmla="*/ 5951515 w 5951515"/>
              <a:gd name="connsiteY1" fmla="*/ 0 h 3969207"/>
              <a:gd name="connsiteX2" fmla="*/ 5951515 w 5951515"/>
              <a:gd name="connsiteY2" fmla="*/ 2945650 h 3969207"/>
              <a:gd name="connsiteX3" fmla="*/ 3238621 w 5951515"/>
              <a:gd name="connsiteY3" fmla="*/ 2945650 h 3969207"/>
              <a:gd name="connsiteX4" fmla="*/ 3238583 w 5951515"/>
              <a:gd name="connsiteY4" fmla="*/ 2945650 h 3969207"/>
              <a:gd name="connsiteX5" fmla="*/ 2944016 w 5951515"/>
              <a:gd name="connsiteY5" fmla="*/ 3240178 h 3969207"/>
              <a:gd name="connsiteX6" fmla="*/ 2944016 w 5951515"/>
              <a:gd name="connsiteY6" fmla="*/ 3969207 h 3969207"/>
              <a:gd name="connsiteX7" fmla="*/ 0 w 5951515"/>
              <a:gd name="connsiteY7" fmla="*/ 3969207 h 3969207"/>
              <a:gd name="connsiteX8" fmla="*/ 0 w 5951515"/>
              <a:gd name="connsiteY8" fmla="*/ 2944006 h 3969207"/>
              <a:gd name="connsiteX9" fmla="*/ 2944016 w 5951515"/>
              <a:gd name="connsiteY9" fmla="*/ 0 h 39692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951515" h="3969207">
                <a:moveTo>
                  <a:pt x="2944016" y="0"/>
                </a:moveTo>
                <a:lnTo>
                  <a:pt x="5951515" y="0"/>
                </a:lnTo>
                <a:lnTo>
                  <a:pt x="5951515" y="2945650"/>
                </a:lnTo>
                <a:lnTo>
                  <a:pt x="3238621" y="2945650"/>
                </a:lnTo>
                <a:cubicBezTo>
                  <a:pt x="3238612" y="2945650"/>
                  <a:pt x="3238593" y="2945650"/>
                  <a:pt x="3238583" y="2945650"/>
                </a:cubicBezTo>
                <a:cubicBezTo>
                  <a:pt x="3075910" y="2945640"/>
                  <a:pt x="2944026" y="3077506"/>
                  <a:pt x="2944016" y="3240178"/>
                </a:cubicBezTo>
                <a:lnTo>
                  <a:pt x="2944016" y="3969207"/>
                </a:lnTo>
                <a:lnTo>
                  <a:pt x="0" y="3969207"/>
                </a:lnTo>
                <a:lnTo>
                  <a:pt x="0" y="2944006"/>
                </a:lnTo>
                <a:cubicBezTo>
                  <a:pt x="0" y="1318078"/>
                  <a:pt x="1318108" y="0"/>
                  <a:pt x="2944016" y="0"/>
                </a:cubicBezTo>
                <a:close/>
              </a:path>
            </a:pathLst>
          </a:custGeom>
          <a:solidFill>
            <a:srgbClr val="F6F6F6"/>
          </a:solidFill>
          <a:ln w="7996" cap="flat">
            <a:noFill/>
            <a:prstDash val="solid"/>
            <a:miter/>
          </a:ln>
        </p:spPr>
        <p:txBody>
          <a:bodyPr rtlCol="0" anchor="ctr"/>
          <a:lstStyle/>
          <a:p>
            <a:endParaRPr lang="de-DE" noProof="0"/>
          </a:p>
        </p:txBody>
      </p:sp>
      <p:pic>
        <p:nvPicPr>
          <p:cNvPr id="26" name="Grafik 25">
            <a:extLst>
              <a:ext uri="{FF2B5EF4-FFF2-40B4-BE49-F238E27FC236}">
                <a16:creationId xmlns:a16="http://schemas.microsoft.com/office/drawing/2014/main" id="{B2D7E805-A02E-46B2-B6AA-9C8FECEF933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56023" t="65199"/>
          <a:stretch>
            <a:fillRect/>
          </a:stretch>
        </p:blipFill>
        <p:spPr bwMode="gray">
          <a:xfrm>
            <a:off x="0" y="1341438"/>
            <a:ext cx="5025390" cy="2735262"/>
          </a:xfrm>
          <a:custGeom>
            <a:avLst/>
            <a:gdLst>
              <a:gd name="connsiteX0" fmla="*/ 0 w 5025390"/>
              <a:gd name="connsiteY0" fmla="*/ 0 h 2735262"/>
              <a:gd name="connsiteX1" fmla="*/ 5025390 w 5025390"/>
              <a:gd name="connsiteY1" fmla="*/ 0 h 2735262"/>
              <a:gd name="connsiteX2" fmla="*/ 5025390 w 5025390"/>
              <a:gd name="connsiteY2" fmla="*/ 2735262 h 2735262"/>
              <a:gd name="connsiteX3" fmla="*/ 0 w 5025390"/>
              <a:gd name="connsiteY3" fmla="*/ 2735262 h 2735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25390" h="2735262">
                <a:moveTo>
                  <a:pt x="0" y="0"/>
                </a:moveTo>
                <a:lnTo>
                  <a:pt x="5025390" y="0"/>
                </a:lnTo>
                <a:lnTo>
                  <a:pt x="5025390" y="2735262"/>
                </a:lnTo>
                <a:lnTo>
                  <a:pt x="0" y="2735262"/>
                </a:lnTo>
                <a:close/>
              </a:path>
            </a:pathLst>
          </a:cu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59248FAA-9EC8-4B5A-ABCF-6D6EEA0A3C1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479376" y="2865939"/>
            <a:ext cx="5760000" cy="1169551"/>
          </a:xfrm>
        </p:spPr>
        <p:txBody>
          <a:bodyPr vert="horz" anchor="b" anchorCtr="0"/>
          <a:lstStyle>
            <a:lvl1pPr algn="l">
              <a:lnSpc>
                <a:spcPct val="100000"/>
              </a:lnSpc>
              <a:defRPr sz="38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Präsentationstitel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0A368C6A-8EA2-41AA-B98E-13E7784A8A7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79424" y="4107498"/>
            <a:ext cx="5760000" cy="584775"/>
          </a:xfrm>
        </p:spPr>
        <p:txBody>
          <a:bodyPr>
            <a:spAutoFit/>
          </a:bodyPr>
          <a:lstStyle>
            <a:lvl1pPr marL="0" indent="0" algn="l">
              <a:lnSpc>
                <a:spcPct val="100000"/>
              </a:lnSpc>
              <a:buNone/>
              <a:tabLst>
                <a:tab pos="1706563" algn="l"/>
              </a:tabLst>
              <a:defRPr sz="380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buNone/>
              <a:tabLst>
                <a:tab pos="1706563" algn="l"/>
              </a:tabLst>
              <a:defRPr sz="16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buNone/>
              <a:tabLst>
                <a:tab pos="1706563" algn="l"/>
              </a:tabLst>
              <a:defRPr sz="16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tabLst/>
              <a:defRPr sz="16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/>
              <a:t>Untertitel bearbeiten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8E38D6EC-4F93-4697-9536-DCD20815DAE1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 bwMode="gray">
          <a:xfrm>
            <a:off x="8940316" y="501157"/>
            <a:ext cx="2772258" cy="335456"/>
          </a:xfrm>
          <a:prstGeom prst="rect">
            <a:avLst/>
          </a:prstGeom>
        </p:spPr>
      </p:pic>
      <p:sp>
        <p:nvSpPr>
          <p:cNvPr id="22" name="Untertitel 2">
            <a:extLst>
              <a:ext uri="{FF2B5EF4-FFF2-40B4-BE49-F238E27FC236}">
                <a16:creationId xmlns:a16="http://schemas.microsoft.com/office/drawing/2014/main" id="{1493E3F1-FD01-4AC9-9519-97EE313C41A4}"/>
              </a:ext>
            </a:extLst>
          </p:cNvPr>
          <p:cNvSpPr txBox="1">
            <a:spLocks/>
          </p:cNvSpPr>
          <p:nvPr userDrawn="1"/>
        </p:nvSpPr>
        <p:spPr bwMode="gray">
          <a:xfrm>
            <a:off x="479377" y="5589240"/>
            <a:ext cx="1044116" cy="73866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tabLst>
                <a:tab pos="1706563" algn="l"/>
              </a:tabLst>
              <a:defRPr sz="3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tabLst>
                <a:tab pos="1706563" algn="l"/>
              </a:tabLst>
              <a:defRPr sz="3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tabLst>
                <a:tab pos="1706563" algn="l"/>
              </a:tabLst>
              <a:defRPr sz="3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3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3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3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3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tabLst/>
              <a:defRPr sz="3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3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de-DE" sz="1600" noProof="0">
                <a:solidFill>
                  <a:schemeClr val="tx1"/>
                </a:solidFill>
              </a:rPr>
              <a:t>Datum</a:t>
            </a:r>
            <a:br>
              <a:rPr lang="de-DE" sz="1600" noProof="0">
                <a:solidFill>
                  <a:schemeClr val="tx1"/>
                </a:solidFill>
              </a:rPr>
            </a:br>
            <a:r>
              <a:rPr lang="de-DE" sz="1600" noProof="0">
                <a:solidFill>
                  <a:schemeClr val="tx1"/>
                </a:solidFill>
              </a:rPr>
              <a:t>Ort</a:t>
            </a:r>
            <a:br>
              <a:rPr lang="de-DE" sz="1600" noProof="0">
                <a:solidFill>
                  <a:schemeClr val="tx1"/>
                </a:solidFill>
              </a:rPr>
            </a:br>
            <a:r>
              <a:rPr lang="de-DE" sz="1600" noProof="0">
                <a:solidFill>
                  <a:schemeClr val="tx1"/>
                </a:solidFill>
              </a:rPr>
              <a:t>Verfasser</a:t>
            </a:r>
          </a:p>
        </p:txBody>
      </p:sp>
      <p:sp>
        <p:nvSpPr>
          <p:cNvPr id="23" name="Textplatzhalter 8">
            <a:extLst>
              <a:ext uri="{FF2B5EF4-FFF2-40B4-BE49-F238E27FC236}">
                <a16:creationId xmlns:a16="http://schemas.microsoft.com/office/drawing/2014/main" id="{FAD0E66C-F6AD-4B36-8BED-C062FB55E50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207568" y="5589240"/>
            <a:ext cx="3816000" cy="73866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6pPr>
            <a:lvl7pPr marL="0" indent="0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7pPr>
            <a:lvl8pPr marL="0" indent="0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sz="1600" noProof="0"/>
              <a:t>Datum bearbeiten</a:t>
            </a:r>
            <a:br>
              <a:rPr lang="de-DE" sz="1600" noProof="0"/>
            </a:br>
            <a:r>
              <a:rPr lang="de-DE" sz="1600" noProof="0"/>
              <a:t>Ort bearbeiten</a:t>
            </a:r>
            <a:br>
              <a:rPr lang="de-DE" sz="1600" noProof="0"/>
            </a:br>
            <a:r>
              <a:rPr lang="de-DE" sz="1600" noProof="0"/>
              <a:t>Verfasser bearbeiten</a:t>
            </a:r>
          </a:p>
        </p:txBody>
      </p:sp>
    </p:spTree>
    <p:extLst>
      <p:ext uri="{BB962C8B-B14F-4D97-AF65-F5344CB8AC3E}">
        <p14:creationId xmlns:p14="http://schemas.microsoft.com/office/powerpoint/2010/main" val="191831441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7">
            <a:extLst>
              <a:ext uri="{FF2B5EF4-FFF2-40B4-BE49-F238E27FC236}">
                <a16:creationId xmlns:a16="http://schemas.microsoft.com/office/drawing/2014/main" id="{02CFB352-1556-4B43-B003-751CB2D206F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9424" y="446475"/>
            <a:ext cx="9324988" cy="246221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buNone/>
              <a:defRPr sz="1600"/>
            </a:lvl1pPr>
          </a:lstStyle>
          <a:p>
            <a:pPr lvl="0"/>
            <a:r>
              <a:rPr lang="de-DE" noProof="0"/>
              <a:t>Text bearbeiten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7876AE6D-FC5F-48B0-BF3C-11A0A988C28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79425" y="2168860"/>
            <a:ext cx="11233150" cy="3744578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4500" b="1">
                <a:solidFill>
                  <a:schemeClr val="accent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de-DE" noProof="0"/>
              <a:t>Zitat/Zwischenfazi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20004CC-3D8C-4C0A-B6DB-F00AFC5C6308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de-DE" noProof="0"/>
              <a:t>17.07.2024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7BE82B6-6581-4643-8BB7-392A83461AB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de-DE" noProof="0"/>
              <a:t>Klassifizierung nicht vertraulich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26B27E3-9A24-4141-A908-9CEF81BD65B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645586CC-6D24-4895-9441-71B1281C15CA}" type="slidenum">
              <a:rPr lang="de-DE" noProof="0" smtClean="0"/>
              <a:pPr/>
              <a:t>‹Nr.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315537871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B89062A-2891-4471-BC9A-AD3A541D5B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988881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BB89062A-2891-4471-BC9A-AD3A541D5B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7">
            <a:extLst>
              <a:ext uri="{FF2B5EF4-FFF2-40B4-BE49-F238E27FC236}">
                <a16:creationId xmlns:a16="http://schemas.microsoft.com/office/drawing/2014/main" id="{02CFB352-1556-4B43-B003-751CB2D206F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9424" y="446475"/>
            <a:ext cx="9324988" cy="246221"/>
          </a:xfrm>
        </p:spPr>
        <p:txBody>
          <a:bodyPr anchor="b" anchorCtr="0">
            <a:spAutoFit/>
          </a:bodyPr>
          <a:lstStyle>
            <a:lvl1pPr marL="0" indent="0" rtl="0">
              <a:lnSpc>
                <a:spcPct val="100000"/>
              </a:lnSpc>
              <a:buNone/>
              <a:defRPr sz="1600"/>
            </a:lvl1pPr>
          </a:lstStyle>
          <a:p>
            <a:pPr lvl="0"/>
            <a:r>
              <a:rPr lang="de-DE" noProof="0"/>
              <a:t>Tex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BCE85B0-DF1F-46A5-BE5A-A2A0E17D2E02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de-DE" noProof="0"/>
              <a:t>17.07.2024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EEDCB95-1333-4EF7-A860-840015FAF33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de-DE" noProof="0"/>
              <a:t>Klassifizierung nicht vertraulich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275F325-0396-429C-ABEE-A886E213726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645586CC-6D24-4895-9441-71B1281C15CA}" type="slidenum">
              <a:rPr lang="de-DE" noProof="0" smtClean="0"/>
              <a:pPr/>
              <a:t>‹Nr.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178585890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seite 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09840A05-7409-457F-9838-F4FA1EAFCE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4992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09840A05-7409-457F-9838-F4FA1EAFCE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>
            <a:extLst>
              <a:ext uri="{FF2B5EF4-FFF2-40B4-BE49-F238E27FC236}">
                <a16:creationId xmlns:a16="http://schemas.microsoft.com/office/drawing/2014/main" id="{55BE0372-E45A-4960-BEA0-B00B99BF2A83}"/>
              </a:ext>
            </a:extLst>
          </p:cNvPr>
          <p:cNvSpPr/>
          <p:nvPr userDrawn="1"/>
        </p:nvSpPr>
        <p:spPr bwMode="gray">
          <a:xfrm>
            <a:off x="0" y="1341438"/>
            <a:ext cx="12192000" cy="55165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noProof="0"/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id="{E2AF8343-5786-4BED-82E0-A7CAEFD4EA7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79424" y="2060848"/>
            <a:ext cx="7560000" cy="584775"/>
          </a:xfr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3800" b="1">
                <a:solidFill>
                  <a:schemeClr val="accent3"/>
                </a:solidFill>
              </a:defRPr>
            </a:lvl1pPr>
            <a:lvl2pPr marL="0" indent="0">
              <a:lnSpc>
                <a:spcPct val="100000"/>
              </a:lnSpc>
              <a:buNone/>
              <a:defRPr sz="3800" b="1">
                <a:solidFill>
                  <a:schemeClr val="accent3"/>
                </a:solidFill>
              </a:defRPr>
            </a:lvl2pPr>
            <a:lvl3pPr marL="0" indent="0">
              <a:lnSpc>
                <a:spcPct val="100000"/>
              </a:lnSpc>
              <a:buNone/>
              <a:defRPr sz="3800" b="1">
                <a:solidFill>
                  <a:schemeClr val="accent3"/>
                </a:solidFill>
              </a:defRPr>
            </a:lvl3pPr>
            <a:lvl4pPr marL="0" indent="0">
              <a:lnSpc>
                <a:spcPct val="100000"/>
              </a:lnSpc>
              <a:buNone/>
              <a:defRPr sz="3800" b="1">
                <a:solidFill>
                  <a:schemeClr val="accent3"/>
                </a:solidFill>
              </a:defRPr>
            </a:lvl4pPr>
            <a:lvl5pPr marL="0" indent="0">
              <a:lnSpc>
                <a:spcPct val="100000"/>
              </a:lnSpc>
              <a:buNone/>
              <a:defRPr sz="3800" b="1">
                <a:solidFill>
                  <a:schemeClr val="accent3"/>
                </a:solidFill>
              </a:defRPr>
            </a:lvl5pPr>
            <a:lvl6pPr marL="0" indent="0">
              <a:lnSpc>
                <a:spcPct val="100000"/>
              </a:lnSpc>
              <a:buNone/>
              <a:defRPr sz="3800" b="1">
                <a:solidFill>
                  <a:schemeClr val="accent3"/>
                </a:solidFill>
              </a:defRPr>
            </a:lvl6pPr>
            <a:lvl7pPr marL="0" indent="0">
              <a:lnSpc>
                <a:spcPct val="100000"/>
              </a:lnSpc>
              <a:buNone/>
              <a:defRPr sz="3800" b="1">
                <a:solidFill>
                  <a:schemeClr val="accent3"/>
                </a:solidFill>
              </a:defRPr>
            </a:lvl7pPr>
            <a:lvl8pPr marL="0" indent="0">
              <a:lnSpc>
                <a:spcPct val="100000"/>
              </a:lnSpc>
              <a:buNone/>
              <a:defRPr sz="3800" b="1">
                <a:solidFill>
                  <a:schemeClr val="accent3"/>
                </a:solidFill>
              </a:defRPr>
            </a:lvl8pPr>
            <a:lvl9pPr marL="0" indent="0">
              <a:lnSpc>
                <a:spcPct val="100000"/>
              </a:lnSpc>
              <a:buNone/>
              <a:defRPr sz="3800" b="1">
                <a:solidFill>
                  <a:schemeClr val="accent3"/>
                </a:solidFill>
              </a:defRPr>
            </a:lvl9pPr>
          </a:lstStyle>
          <a:p>
            <a:pPr lvl="0"/>
            <a:r>
              <a:rPr lang="de-DE" noProof="0"/>
              <a:t>Finale Botschaft bearbeit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9B42291A-119F-44CD-A157-6308F99D01F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9425" y="3567758"/>
            <a:ext cx="7560000" cy="215444"/>
          </a:xfrm>
        </p:spPr>
        <p:txBody>
          <a:bodyPr anchor="b">
            <a:sp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b="1"/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b="1"/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None/>
              <a:defRPr b="1"/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b="1"/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b="1"/>
            </a:lvl5pPr>
            <a:lvl6pPr marL="0" indent="0">
              <a:lnSpc>
                <a:spcPct val="100000"/>
              </a:lnSpc>
              <a:buNone/>
              <a:defRPr b="1"/>
            </a:lvl6pPr>
            <a:lvl7pPr marL="0" indent="0">
              <a:lnSpc>
                <a:spcPct val="100000"/>
              </a:lnSpc>
              <a:buNone/>
              <a:defRPr b="1"/>
            </a:lvl7pPr>
            <a:lvl8pPr marL="0" indent="0">
              <a:lnSpc>
                <a:spcPct val="100000"/>
              </a:lnSpc>
              <a:buNone/>
              <a:defRPr b="1"/>
            </a:lvl8pPr>
            <a:lvl9pPr marL="0" indent="0">
              <a:lnSpc>
                <a:spcPct val="100000"/>
              </a:lnSpc>
              <a:buNone/>
              <a:defRPr b="1"/>
            </a:lvl9pPr>
          </a:lstStyle>
          <a:p>
            <a:pPr lvl="0"/>
            <a:r>
              <a:rPr lang="de-DE" noProof="0"/>
              <a:t>Name Nachname bearbeiten</a:t>
            </a:r>
          </a:p>
        </p:txBody>
      </p:sp>
      <p:sp>
        <p:nvSpPr>
          <p:cNvPr id="11" name="Textplatzhalter 12">
            <a:extLst>
              <a:ext uri="{FF2B5EF4-FFF2-40B4-BE49-F238E27FC236}">
                <a16:creationId xmlns:a16="http://schemas.microsoft.com/office/drawing/2014/main" id="{273B372F-D8EB-4CF1-BA42-3E017657655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79425" y="4041068"/>
            <a:ext cx="7560000" cy="215444"/>
          </a:xfr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b="0"/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b="0"/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None/>
              <a:defRPr b="0"/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b="0"/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b="0"/>
            </a:lvl5pPr>
            <a:lvl6pPr marL="0" indent="0">
              <a:lnSpc>
                <a:spcPct val="100000"/>
              </a:lnSpc>
              <a:buNone/>
              <a:defRPr b="0"/>
            </a:lvl6pPr>
            <a:lvl7pPr marL="0" indent="0">
              <a:lnSpc>
                <a:spcPct val="100000"/>
              </a:lnSpc>
              <a:buNone/>
              <a:defRPr b="0"/>
            </a:lvl7pPr>
            <a:lvl8pPr marL="0" indent="0">
              <a:lnSpc>
                <a:spcPct val="100000"/>
              </a:lnSpc>
              <a:buNone/>
              <a:defRPr b="0"/>
            </a:lvl8pPr>
            <a:lvl9pPr marL="0" indent="0">
              <a:lnSpc>
                <a:spcPct val="100000"/>
              </a:lnSpc>
              <a:buNone/>
              <a:defRPr b="0"/>
            </a:lvl9pPr>
          </a:lstStyle>
          <a:p>
            <a:pPr lvl="0"/>
            <a:r>
              <a:rPr lang="de-DE" noProof="0"/>
              <a:t>Adresse bearbeiten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7D068CF0-EDB4-400F-A103-EC30C62EBD98}"/>
              </a:ext>
            </a:extLst>
          </p:cNvPr>
          <p:cNvSpPr/>
          <p:nvPr userDrawn="1"/>
        </p:nvSpPr>
        <p:spPr bwMode="gray">
          <a:xfrm>
            <a:off x="479376" y="5395447"/>
            <a:ext cx="7560001" cy="90026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lvl="1" indent="0" algn="l">
              <a:lnSpc>
                <a:spcPct val="107000"/>
              </a:lnSpc>
            </a:pPr>
            <a:r>
              <a:rPr lang="de-DE" sz="1400" noProof="0">
                <a:solidFill>
                  <a:schemeClr val="tx1"/>
                </a:solidFill>
              </a:rPr>
              <a:t>Hinweis: Diese Präsentation ist Eigentum der Bundesdruckerei GmbH.</a:t>
            </a:r>
          </a:p>
          <a:p>
            <a:pPr marL="0" lvl="1" indent="0" algn="l">
              <a:lnSpc>
                <a:spcPct val="107000"/>
              </a:lnSpc>
            </a:pPr>
            <a:r>
              <a:rPr lang="de-DE" sz="1400" noProof="0">
                <a:solidFill>
                  <a:schemeClr val="tx1"/>
                </a:solidFill>
              </a:rPr>
              <a:t>Sämtliche Inhalte – auch auszugsweise – dürfen nicht ohne die Genehmigung der</a:t>
            </a:r>
          </a:p>
          <a:p>
            <a:pPr marL="0" lvl="1" indent="0" algn="l">
              <a:lnSpc>
                <a:spcPct val="107000"/>
              </a:lnSpc>
            </a:pPr>
            <a:r>
              <a:rPr lang="de-DE" sz="1400" noProof="0">
                <a:solidFill>
                  <a:schemeClr val="tx1"/>
                </a:solidFill>
              </a:rPr>
              <a:t>Bundesdruckerei GmbH vervielfältigt, weitergegeben oder veröffentlicht werden.</a:t>
            </a:r>
          </a:p>
          <a:p>
            <a:pPr marL="0" lvl="1" indent="0" algn="l">
              <a:lnSpc>
                <a:spcPct val="107000"/>
              </a:lnSpc>
            </a:pPr>
            <a:r>
              <a:rPr lang="de-DE" sz="1400" noProof="0">
                <a:solidFill>
                  <a:schemeClr val="tx1"/>
                </a:solidFill>
              </a:rPr>
              <a:t>© 2022 by Bundesdruckerei GmbH.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FC06409C-D5C8-4671-9144-81E39C4AFAC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gray">
          <a:xfrm>
            <a:off x="8940316" y="501157"/>
            <a:ext cx="2772258" cy="335456"/>
          </a:xfrm>
          <a:prstGeom prst="rect">
            <a:avLst/>
          </a:prstGeom>
        </p:spPr>
      </p:pic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1DCEAE25-85E1-4F2A-B43D-84A71A503C4C}"/>
              </a:ext>
            </a:extLst>
          </p:cNvPr>
          <p:cNvGrpSpPr/>
          <p:nvPr userDrawn="1"/>
        </p:nvGrpSpPr>
        <p:grpSpPr bwMode="gray">
          <a:xfrm>
            <a:off x="10890237" y="5395446"/>
            <a:ext cx="822387" cy="821266"/>
            <a:chOff x="10783888" y="5395446"/>
            <a:chExt cx="822387" cy="821266"/>
          </a:xfrm>
        </p:grpSpPr>
        <p:pic>
          <p:nvPicPr>
            <p:cNvPr id="23" name="Grafik 22">
              <a:extLst>
                <a:ext uri="{FF2B5EF4-FFF2-40B4-BE49-F238E27FC236}">
                  <a16:creationId xmlns:a16="http://schemas.microsoft.com/office/drawing/2014/main" id="{9028C4E9-B858-445B-B6E8-AE22F9986C4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gray">
            <a:xfrm>
              <a:off x="10783888" y="5395912"/>
              <a:ext cx="822387" cy="820800"/>
            </a:xfrm>
            <a:prstGeom prst="rect">
              <a:avLst/>
            </a:prstGeom>
          </p:spPr>
        </p:pic>
        <p:pic>
          <p:nvPicPr>
            <p:cNvPr id="22" name="Grafik 21">
              <a:extLst>
                <a:ext uri="{FF2B5EF4-FFF2-40B4-BE49-F238E27FC236}">
                  <a16:creationId xmlns:a16="http://schemas.microsoft.com/office/drawing/2014/main" id="{13955742-1857-4C82-A2B7-35C5705E289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10783947" y="5395446"/>
              <a:ext cx="820800" cy="8208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4441278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seite grau (englisch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11A01D05-1836-4909-A101-1EC1B27AA3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14210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11A01D05-1836-4909-A101-1EC1B27AA3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>
            <a:extLst>
              <a:ext uri="{FF2B5EF4-FFF2-40B4-BE49-F238E27FC236}">
                <a16:creationId xmlns:a16="http://schemas.microsoft.com/office/drawing/2014/main" id="{55BE0372-E45A-4960-BEA0-B00B99BF2A83}"/>
              </a:ext>
            </a:extLst>
          </p:cNvPr>
          <p:cNvSpPr/>
          <p:nvPr userDrawn="1"/>
        </p:nvSpPr>
        <p:spPr bwMode="gray">
          <a:xfrm>
            <a:off x="0" y="1341438"/>
            <a:ext cx="12192000" cy="55165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noProof="0"/>
          </a:p>
        </p:txBody>
      </p:sp>
      <p:sp>
        <p:nvSpPr>
          <p:cNvPr id="19" name="Textplatzhalter 8">
            <a:extLst>
              <a:ext uri="{FF2B5EF4-FFF2-40B4-BE49-F238E27FC236}">
                <a16:creationId xmlns:a16="http://schemas.microsoft.com/office/drawing/2014/main" id="{739D5E6F-4FBD-4972-8320-F9B1437F000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79424" y="2060848"/>
            <a:ext cx="7560000" cy="584775"/>
          </a:xfr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3800" b="1">
                <a:solidFill>
                  <a:schemeClr val="accent3"/>
                </a:solidFill>
              </a:defRPr>
            </a:lvl1pPr>
            <a:lvl2pPr marL="0" indent="0">
              <a:lnSpc>
                <a:spcPct val="100000"/>
              </a:lnSpc>
              <a:buNone/>
              <a:defRPr sz="3800" b="1">
                <a:solidFill>
                  <a:schemeClr val="accent3"/>
                </a:solidFill>
              </a:defRPr>
            </a:lvl2pPr>
            <a:lvl3pPr marL="0" indent="0">
              <a:lnSpc>
                <a:spcPct val="100000"/>
              </a:lnSpc>
              <a:buNone/>
              <a:defRPr sz="3800" b="1">
                <a:solidFill>
                  <a:schemeClr val="accent3"/>
                </a:solidFill>
              </a:defRPr>
            </a:lvl3pPr>
            <a:lvl4pPr marL="0" indent="0">
              <a:lnSpc>
                <a:spcPct val="100000"/>
              </a:lnSpc>
              <a:buNone/>
              <a:defRPr sz="3800" b="1">
                <a:solidFill>
                  <a:schemeClr val="accent3"/>
                </a:solidFill>
              </a:defRPr>
            </a:lvl4pPr>
            <a:lvl5pPr marL="0" indent="0">
              <a:lnSpc>
                <a:spcPct val="100000"/>
              </a:lnSpc>
              <a:buNone/>
              <a:defRPr sz="3800" b="1">
                <a:solidFill>
                  <a:schemeClr val="accent3"/>
                </a:solidFill>
              </a:defRPr>
            </a:lvl5pPr>
            <a:lvl6pPr marL="0" indent="0">
              <a:lnSpc>
                <a:spcPct val="100000"/>
              </a:lnSpc>
              <a:buNone/>
              <a:defRPr sz="3800" b="1">
                <a:solidFill>
                  <a:schemeClr val="accent3"/>
                </a:solidFill>
              </a:defRPr>
            </a:lvl6pPr>
            <a:lvl7pPr marL="0" indent="0">
              <a:lnSpc>
                <a:spcPct val="100000"/>
              </a:lnSpc>
              <a:buNone/>
              <a:defRPr sz="3800" b="1">
                <a:solidFill>
                  <a:schemeClr val="accent3"/>
                </a:solidFill>
              </a:defRPr>
            </a:lvl7pPr>
            <a:lvl8pPr marL="0" indent="0">
              <a:lnSpc>
                <a:spcPct val="100000"/>
              </a:lnSpc>
              <a:buNone/>
              <a:defRPr sz="3800" b="1">
                <a:solidFill>
                  <a:schemeClr val="accent3"/>
                </a:solidFill>
              </a:defRPr>
            </a:lvl8pPr>
            <a:lvl9pPr marL="0" indent="0">
              <a:lnSpc>
                <a:spcPct val="100000"/>
              </a:lnSpc>
              <a:buNone/>
              <a:defRPr sz="3800" b="1">
                <a:solidFill>
                  <a:schemeClr val="accent3"/>
                </a:solidFill>
              </a:defRPr>
            </a:lvl9pPr>
          </a:lstStyle>
          <a:p>
            <a:pPr lvl="0"/>
            <a:r>
              <a:rPr lang="de-DE" noProof="0"/>
              <a:t>Finale Botschaft bearbeiten</a:t>
            </a:r>
          </a:p>
        </p:txBody>
      </p:sp>
      <p:sp>
        <p:nvSpPr>
          <p:cNvPr id="20" name="Textplatzhalter 12">
            <a:extLst>
              <a:ext uri="{FF2B5EF4-FFF2-40B4-BE49-F238E27FC236}">
                <a16:creationId xmlns:a16="http://schemas.microsoft.com/office/drawing/2014/main" id="{9F4F2C0C-FA9C-4899-973D-C5B61AC7868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9425" y="3567758"/>
            <a:ext cx="7560000" cy="215444"/>
          </a:xfrm>
        </p:spPr>
        <p:txBody>
          <a:bodyPr anchor="b">
            <a:sp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b="1"/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b="1"/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None/>
              <a:defRPr b="1"/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b="1"/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b="1"/>
            </a:lvl5pPr>
            <a:lvl6pPr marL="0" indent="0">
              <a:lnSpc>
                <a:spcPct val="100000"/>
              </a:lnSpc>
              <a:buNone/>
              <a:defRPr b="1"/>
            </a:lvl6pPr>
            <a:lvl7pPr marL="0" indent="0">
              <a:lnSpc>
                <a:spcPct val="100000"/>
              </a:lnSpc>
              <a:buNone/>
              <a:defRPr b="1"/>
            </a:lvl7pPr>
            <a:lvl8pPr marL="0" indent="0">
              <a:lnSpc>
                <a:spcPct val="100000"/>
              </a:lnSpc>
              <a:buNone/>
              <a:defRPr b="1"/>
            </a:lvl8pPr>
            <a:lvl9pPr marL="0" indent="0">
              <a:lnSpc>
                <a:spcPct val="100000"/>
              </a:lnSpc>
              <a:buNone/>
              <a:defRPr b="1"/>
            </a:lvl9pPr>
          </a:lstStyle>
          <a:p>
            <a:pPr lvl="0"/>
            <a:r>
              <a:rPr lang="de-DE" noProof="0"/>
              <a:t>Name Nachname bearbeiten</a:t>
            </a:r>
          </a:p>
        </p:txBody>
      </p:sp>
      <p:sp>
        <p:nvSpPr>
          <p:cNvPr id="21" name="Textplatzhalter 12">
            <a:extLst>
              <a:ext uri="{FF2B5EF4-FFF2-40B4-BE49-F238E27FC236}">
                <a16:creationId xmlns:a16="http://schemas.microsoft.com/office/drawing/2014/main" id="{14C5FBEF-4F8E-4645-9125-35194C0A7D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79425" y="4041068"/>
            <a:ext cx="7560000" cy="215444"/>
          </a:xfr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b="0"/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b="0"/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None/>
              <a:defRPr b="0"/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b="0"/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b="0"/>
            </a:lvl5pPr>
            <a:lvl6pPr marL="0" indent="0">
              <a:lnSpc>
                <a:spcPct val="100000"/>
              </a:lnSpc>
              <a:buNone/>
              <a:defRPr b="0"/>
            </a:lvl6pPr>
            <a:lvl7pPr marL="0" indent="0">
              <a:lnSpc>
                <a:spcPct val="100000"/>
              </a:lnSpc>
              <a:buNone/>
              <a:defRPr b="0"/>
            </a:lvl7pPr>
            <a:lvl8pPr marL="0" indent="0">
              <a:lnSpc>
                <a:spcPct val="100000"/>
              </a:lnSpc>
              <a:buNone/>
              <a:defRPr b="0"/>
            </a:lvl8pPr>
            <a:lvl9pPr marL="0" indent="0">
              <a:lnSpc>
                <a:spcPct val="100000"/>
              </a:lnSpc>
              <a:buNone/>
              <a:defRPr b="0"/>
            </a:lvl9pPr>
          </a:lstStyle>
          <a:p>
            <a:pPr lvl="0"/>
            <a:r>
              <a:rPr lang="de-DE" noProof="0"/>
              <a:t>Adresse bearbeiten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FC06409C-D5C8-4671-9144-81E39C4AFAC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gray">
          <a:xfrm>
            <a:off x="8940316" y="501157"/>
            <a:ext cx="2772258" cy="335456"/>
          </a:xfrm>
          <a:prstGeom prst="rect">
            <a:avLst/>
          </a:prstGeom>
        </p:spPr>
      </p:pic>
      <p:sp>
        <p:nvSpPr>
          <p:cNvPr id="18" name="Rechteck 17">
            <a:extLst>
              <a:ext uri="{FF2B5EF4-FFF2-40B4-BE49-F238E27FC236}">
                <a16:creationId xmlns:a16="http://schemas.microsoft.com/office/drawing/2014/main" id="{F19CABA0-152E-6844-B83C-5E95F75F0DBB}"/>
              </a:ext>
            </a:extLst>
          </p:cNvPr>
          <p:cNvSpPr/>
          <p:nvPr userDrawn="1"/>
        </p:nvSpPr>
        <p:spPr bwMode="gray">
          <a:xfrm>
            <a:off x="479425" y="5395447"/>
            <a:ext cx="7560000" cy="90026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lvl="1" indent="0" algn="l" rtl="0">
              <a:lnSpc>
                <a:spcPct val="107000"/>
              </a:lnSpc>
            </a:pPr>
            <a:r>
              <a:rPr lang="en-US" sz="1400" noProof="0">
                <a:solidFill>
                  <a:schemeClr val="tx1"/>
                </a:solidFill>
              </a:rPr>
              <a:t>Please note: This presentation is the property of Bundesdruckerei GmbH. </a:t>
            </a:r>
          </a:p>
          <a:p>
            <a:pPr marL="0" lvl="1" indent="0" algn="l" rtl="0">
              <a:lnSpc>
                <a:spcPct val="107000"/>
              </a:lnSpc>
            </a:pPr>
            <a:r>
              <a:rPr lang="en-US" sz="1400" noProof="0">
                <a:solidFill>
                  <a:schemeClr val="tx1"/>
                </a:solidFill>
              </a:rPr>
              <a:t>All of the information contained herein may not be copied, distributed or published, </a:t>
            </a:r>
          </a:p>
          <a:p>
            <a:pPr marL="0" lvl="1" indent="0" algn="l" rtl="0">
              <a:lnSpc>
                <a:spcPct val="107000"/>
              </a:lnSpc>
            </a:pPr>
            <a:r>
              <a:rPr lang="en-US" sz="1400" noProof="0">
                <a:solidFill>
                  <a:schemeClr val="tx1"/>
                </a:solidFill>
              </a:rPr>
              <a:t>as a whole or in part, without the approval of Bundesdruckerei GmbH.</a:t>
            </a:r>
          </a:p>
          <a:p>
            <a:pPr marL="0" marR="0" lvl="1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noProof="0">
                <a:solidFill>
                  <a:schemeClr val="tx1"/>
                </a:solidFill>
              </a:rPr>
              <a:t>© 2022 by Bundesdruckerei GmbH</a:t>
            </a: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1DCEAE25-85E1-4F2A-B43D-84A71A503C4C}"/>
              </a:ext>
            </a:extLst>
          </p:cNvPr>
          <p:cNvGrpSpPr/>
          <p:nvPr userDrawn="1"/>
        </p:nvGrpSpPr>
        <p:grpSpPr bwMode="gray">
          <a:xfrm>
            <a:off x="10890237" y="5395446"/>
            <a:ext cx="822387" cy="821266"/>
            <a:chOff x="10783888" y="5395446"/>
            <a:chExt cx="822387" cy="821266"/>
          </a:xfrm>
        </p:grpSpPr>
        <p:pic>
          <p:nvPicPr>
            <p:cNvPr id="13" name="Grafik 12">
              <a:extLst>
                <a:ext uri="{FF2B5EF4-FFF2-40B4-BE49-F238E27FC236}">
                  <a16:creationId xmlns:a16="http://schemas.microsoft.com/office/drawing/2014/main" id="{9028C4E9-B858-445B-B6E8-AE22F9986C4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gray">
            <a:xfrm>
              <a:off x="10783888" y="5395912"/>
              <a:ext cx="822387" cy="820800"/>
            </a:xfrm>
            <a:prstGeom prst="rect">
              <a:avLst/>
            </a:prstGeom>
          </p:spPr>
        </p:pic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13955742-1857-4C82-A2B7-35C5705E289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10783947" y="5395446"/>
              <a:ext cx="820800" cy="8208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7641243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seite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55BE0372-E45A-4960-BEA0-B00B99BF2A83}"/>
              </a:ext>
            </a:extLst>
          </p:cNvPr>
          <p:cNvSpPr/>
          <p:nvPr userDrawn="1"/>
        </p:nvSpPr>
        <p:spPr bwMode="ltGray">
          <a:xfrm>
            <a:off x="0" y="1341438"/>
            <a:ext cx="12192000" cy="551656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noProof="0"/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id="{E3C0F944-BDA6-40CC-8730-AE3D8D51EFE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79424" y="2060848"/>
            <a:ext cx="7560000" cy="584775"/>
          </a:xfr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3800" b="1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buNone/>
              <a:defRPr sz="3800" b="1">
                <a:solidFill>
                  <a:schemeClr val="accent3"/>
                </a:solidFill>
              </a:defRPr>
            </a:lvl2pPr>
            <a:lvl3pPr marL="0" indent="0">
              <a:lnSpc>
                <a:spcPct val="100000"/>
              </a:lnSpc>
              <a:buNone/>
              <a:defRPr sz="3800" b="1">
                <a:solidFill>
                  <a:schemeClr val="accent3"/>
                </a:solidFill>
              </a:defRPr>
            </a:lvl3pPr>
            <a:lvl4pPr marL="0" indent="0">
              <a:lnSpc>
                <a:spcPct val="100000"/>
              </a:lnSpc>
              <a:buNone/>
              <a:defRPr sz="3800" b="1">
                <a:solidFill>
                  <a:schemeClr val="accent3"/>
                </a:solidFill>
              </a:defRPr>
            </a:lvl4pPr>
            <a:lvl5pPr marL="0" indent="0">
              <a:lnSpc>
                <a:spcPct val="100000"/>
              </a:lnSpc>
              <a:buNone/>
              <a:defRPr sz="3800" b="1">
                <a:solidFill>
                  <a:schemeClr val="accent3"/>
                </a:solidFill>
              </a:defRPr>
            </a:lvl5pPr>
            <a:lvl6pPr marL="0" indent="0">
              <a:lnSpc>
                <a:spcPct val="100000"/>
              </a:lnSpc>
              <a:buNone/>
              <a:defRPr sz="3800" b="1">
                <a:solidFill>
                  <a:schemeClr val="accent3"/>
                </a:solidFill>
              </a:defRPr>
            </a:lvl6pPr>
            <a:lvl7pPr marL="0" indent="0">
              <a:lnSpc>
                <a:spcPct val="100000"/>
              </a:lnSpc>
              <a:buNone/>
              <a:defRPr sz="3800" b="1">
                <a:solidFill>
                  <a:schemeClr val="accent3"/>
                </a:solidFill>
              </a:defRPr>
            </a:lvl7pPr>
            <a:lvl8pPr marL="0" indent="0">
              <a:lnSpc>
                <a:spcPct val="100000"/>
              </a:lnSpc>
              <a:buNone/>
              <a:defRPr sz="3800" b="1">
                <a:solidFill>
                  <a:schemeClr val="accent3"/>
                </a:solidFill>
              </a:defRPr>
            </a:lvl8pPr>
            <a:lvl9pPr marL="0" indent="0">
              <a:lnSpc>
                <a:spcPct val="100000"/>
              </a:lnSpc>
              <a:buNone/>
              <a:defRPr sz="3800" b="1">
                <a:solidFill>
                  <a:schemeClr val="accent3"/>
                </a:solidFill>
              </a:defRPr>
            </a:lvl9pPr>
          </a:lstStyle>
          <a:p>
            <a:pPr lvl="0"/>
            <a:r>
              <a:rPr lang="de-DE" noProof="0"/>
              <a:t>Finale Botschaft bearbeiten</a:t>
            </a:r>
          </a:p>
        </p:txBody>
      </p:sp>
      <p:sp>
        <p:nvSpPr>
          <p:cNvPr id="9" name="Textplatzhalter 12">
            <a:extLst>
              <a:ext uri="{FF2B5EF4-FFF2-40B4-BE49-F238E27FC236}">
                <a16:creationId xmlns:a16="http://schemas.microsoft.com/office/drawing/2014/main" id="{C6994F64-F391-46EB-A8A4-10C6CFCF951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9425" y="3567758"/>
            <a:ext cx="7560000" cy="215444"/>
          </a:xfrm>
        </p:spPr>
        <p:txBody>
          <a:bodyPr anchor="b">
            <a:sp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buNone/>
              <a:defRPr b="1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buNone/>
              <a:defRPr b="1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buNone/>
              <a:defRPr b="1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buNone/>
              <a:defRPr b="1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/>
              <a:t>Name Nachname bearbeiten</a:t>
            </a:r>
          </a:p>
        </p:txBody>
      </p:sp>
      <p:sp>
        <p:nvSpPr>
          <p:cNvPr id="11" name="Textplatzhalter 12">
            <a:extLst>
              <a:ext uri="{FF2B5EF4-FFF2-40B4-BE49-F238E27FC236}">
                <a16:creationId xmlns:a16="http://schemas.microsoft.com/office/drawing/2014/main" id="{A1CE0E63-11B2-439A-BA21-6B3527A904A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79425" y="4041068"/>
            <a:ext cx="7560000" cy="215444"/>
          </a:xfr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b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b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None/>
              <a:defRPr b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b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b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buNone/>
              <a:defRPr b="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buNone/>
              <a:defRPr b="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buNone/>
              <a:defRPr b="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buNone/>
              <a:defRPr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/>
              <a:t>Adresse bearbeiten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7D068CF0-EDB4-400F-A103-EC30C62EBD98}"/>
              </a:ext>
            </a:extLst>
          </p:cNvPr>
          <p:cNvSpPr/>
          <p:nvPr userDrawn="1"/>
        </p:nvSpPr>
        <p:spPr bwMode="gray">
          <a:xfrm>
            <a:off x="479425" y="5395447"/>
            <a:ext cx="7559999" cy="90026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lvl="1" indent="0" algn="l">
              <a:lnSpc>
                <a:spcPct val="107000"/>
              </a:lnSpc>
            </a:pPr>
            <a:r>
              <a:rPr lang="de-DE" sz="1400" noProof="0">
                <a:solidFill>
                  <a:schemeClr val="bg1"/>
                </a:solidFill>
              </a:rPr>
              <a:t>Hinweis: Diese Präsentation ist Eigentum der Bundesdruckerei GmbH.</a:t>
            </a:r>
          </a:p>
          <a:p>
            <a:pPr marL="0" lvl="1" indent="0" algn="l">
              <a:lnSpc>
                <a:spcPct val="107000"/>
              </a:lnSpc>
            </a:pPr>
            <a:r>
              <a:rPr lang="de-DE" sz="1400" noProof="0">
                <a:solidFill>
                  <a:schemeClr val="bg1"/>
                </a:solidFill>
              </a:rPr>
              <a:t>Sämtliche Inhalte – auch auszugsweise – dürfen nicht ohne die Genehmigung der</a:t>
            </a:r>
          </a:p>
          <a:p>
            <a:pPr marL="0" lvl="1" indent="0" algn="l">
              <a:lnSpc>
                <a:spcPct val="107000"/>
              </a:lnSpc>
            </a:pPr>
            <a:r>
              <a:rPr lang="de-DE" sz="1400" noProof="0">
                <a:solidFill>
                  <a:schemeClr val="bg1"/>
                </a:solidFill>
              </a:rPr>
              <a:t>Bundesdruckerei GmbH vervielfältigt, weitergegeben oder veröffentlicht werden.</a:t>
            </a:r>
          </a:p>
          <a:p>
            <a:pPr marL="0" lvl="1" indent="0" algn="l">
              <a:lnSpc>
                <a:spcPct val="107000"/>
              </a:lnSpc>
            </a:pPr>
            <a:r>
              <a:rPr lang="de-DE" sz="1400" noProof="0">
                <a:solidFill>
                  <a:schemeClr val="bg1"/>
                </a:solidFill>
              </a:rPr>
              <a:t>© 2022 by Bundesdruckerei GmbH.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0E09A07B-ED1E-4A7D-84C6-3712D7D6CC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8940316" y="501157"/>
            <a:ext cx="2772258" cy="335456"/>
          </a:xfrm>
          <a:prstGeom prst="rect">
            <a:avLst/>
          </a:prstGeom>
        </p:spPr>
      </p:pic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6EAF8C70-7D69-456F-B759-A92781A1500D}"/>
              </a:ext>
            </a:extLst>
          </p:cNvPr>
          <p:cNvGrpSpPr/>
          <p:nvPr userDrawn="1"/>
        </p:nvGrpSpPr>
        <p:grpSpPr bwMode="gray">
          <a:xfrm>
            <a:off x="10890237" y="5395446"/>
            <a:ext cx="822387" cy="821266"/>
            <a:chOff x="10783888" y="5395446"/>
            <a:chExt cx="822387" cy="821266"/>
          </a:xfrm>
        </p:grpSpPr>
        <p:pic>
          <p:nvPicPr>
            <p:cNvPr id="17" name="Grafik 16">
              <a:extLst>
                <a:ext uri="{FF2B5EF4-FFF2-40B4-BE49-F238E27FC236}">
                  <a16:creationId xmlns:a16="http://schemas.microsoft.com/office/drawing/2014/main" id="{D50133F6-D61A-4146-A81D-47F7A512EE1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gray">
            <a:xfrm>
              <a:off x="10783888" y="5395912"/>
              <a:ext cx="822387" cy="820800"/>
            </a:xfrm>
            <a:prstGeom prst="rect">
              <a:avLst/>
            </a:prstGeom>
          </p:spPr>
        </p:pic>
        <p:pic>
          <p:nvPicPr>
            <p:cNvPr id="18" name="Grafik 17">
              <a:extLst>
                <a:ext uri="{FF2B5EF4-FFF2-40B4-BE49-F238E27FC236}">
                  <a16:creationId xmlns:a16="http://schemas.microsoft.com/office/drawing/2014/main" id="{52C857D8-F6C3-4043-B5D6-F162336DC25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10783947" y="5395446"/>
              <a:ext cx="820800" cy="8208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783595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seite blau (englisch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43E4502-A059-47AA-8BE7-54E37B56E2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67722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943E4502-A059-47AA-8BE7-54E37B56E2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>
            <a:extLst>
              <a:ext uri="{FF2B5EF4-FFF2-40B4-BE49-F238E27FC236}">
                <a16:creationId xmlns:a16="http://schemas.microsoft.com/office/drawing/2014/main" id="{55BE0372-E45A-4960-BEA0-B00B99BF2A83}"/>
              </a:ext>
            </a:extLst>
          </p:cNvPr>
          <p:cNvSpPr/>
          <p:nvPr userDrawn="1"/>
        </p:nvSpPr>
        <p:spPr bwMode="ltGray">
          <a:xfrm>
            <a:off x="0" y="1341438"/>
            <a:ext cx="12192000" cy="551656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noProof="0"/>
          </a:p>
        </p:txBody>
      </p:sp>
      <p:sp>
        <p:nvSpPr>
          <p:cNvPr id="16" name="Textplatzhalter 8">
            <a:extLst>
              <a:ext uri="{FF2B5EF4-FFF2-40B4-BE49-F238E27FC236}">
                <a16:creationId xmlns:a16="http://schemas.microsoft.com/office/drawing/2014/main" id="{0DD86F7F-59EA-4550-B448-5F48920D629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79424" y="2060848"/>
            <a:ext cx="7560000" cy="584775"/>
          </a:xfr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3800" b="1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buNone/>
              <a:defRPr sz="3800" b="1">
                <a:solidFill>
                  <a:schemeClr val="accent3"/>
                </a:solidFill>
              </a:defRPr>
            </a:lvl2pPr>
            <a:lvl3pPr marL="0" indent="0">
              <a:lnSpc>
                <a:spcPct val="100000"/>
              </a:lnSpc>
              <a:buNone/>
              <a:defRPr sz="3800" b="1">
                <a:solidFill>
                  <a:schemeClr val="accent3"/>
                </a:solidFill>
              </a:defRPr>
            </a:lvl3pPr>
            <a:lvl4pPr marL="0" indent="0">
              <a:lnSpc>
                <a:spcPct val="100000"/>
              </a:lnSpc>
              <a:buNone/>
              <a:defRPr sz="3800" b="1">
                <a:solidFill>
                  <a:schemeClr val="accent3"/>
                </a:solidFill>
              </a:defRPr>
            </a:lvl4pPr>
            <a:lvl5pPr marL="0" indent="0">
              <a:lnSpc>
                <a:spcPct val="100000"/>
              </a:lnSpc>
              <a:buNone/>
              <a:defRPr sz="3800" b="1">
                <a:solidFill>
                  <a:schemeClr val="accent3"/>
                </a:solidFill>
              </a:defRPr>
            </a:lvl5pPr>
            <a:lvl6pPr marL="0" indent="0">
              <a:lnSpc>
                <a:spcPct val="100000"/>
              </a:lnSpc>
              <a:buNone/>
              <a:defRPr sz="3800" b="1">
                <a:solidFill>
                  <a:schemeClr val="accent3"/>
                </a:solidFill>
              </a:defRPr>
            </a:lvl6pPr>
            <a:lvl7pPr marL="0" indent="0">
              <a:lnSpc>
                <a:spcPct val="100000"/>
              </a:lnSpc>
              <a:buNone/>
              <a:defRPr sz="3800" b="1">
                <a:solidFill>
                  <a:schemeClr val="accent3"/>
                </a:solidFill>
              </a:defRPr>
            </a:lvl7pPr>
            <a:lvl8pPr marL="0" indent="0">
              <a:lnSpc>
                <a:spcPct val="100000"/>
              </a:lnSpc>
              <a:buNone/>
              <a:defRPr sz="3800" b="1">
                <a:solidFill>
                  <a:schemeClr val="accent3"/>
                </a:solidFill>
              </a:defRPr>
            </a:lvl8pPr>
            <a:lvl9pPr marL="0" indent="0">
              <a:lnSpc>
                <a:spcPct val="100000"/>
              </a:lnSpc>
              <a:buNone/>
              <a:defRPr sz="3800" b="1">
                <a:solidFill>
                  <a:schemeClr val="accent3"/>
                </a:solidFill>
              </a:defRPr>
            </a:lvl9pPr>
          </a:lstStyle>
          <a:p>
            <a:pPr lvl="0"/>
            <a:r>
              <a:rPr lang="de-DE" noProof="0"/>
              <a:t>Finale Botschaft bearbeiten</a:t>
            </a:r>
          </a:p>
        </p:txBody>
      </p:sp>
      <p:sp>
        <p:nvSpPr>
          <p:cNvPr id="17" name="Textplatzhalter 12">
            <a:extLst>
              <a:ext uri="{FF2B5EF4-FFF2-40B4-BE49-F238E27FC236}">
                <a16:creationId xmlns:a16="http://schemas.microsoft.com/office/drawing/2014/main" id="{6FBBD802-EDC4-4FCD-9BE1-14040B2975C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9425" y="3567758"/>
            <a:ext cx="7560000" cy="215444"/>
          </a:xfrm>
        </p:spPr>
        <p:txBody>
          <a:bodyPr anchor="b">
            <a:sp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buNone/>
              <a:defRPr b="1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buNone/>
              <a:defRPr b="1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buNone/>
              <a:defRPr b="1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buNone/>
              <a:defRPr b="1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/>
              <a:t>Name Nachname bearbeiten</a:t>
            </a:r>
          </a:p>
        </p:txBody>
      </p:sp>
      <p:sp>
        <p:nvSpPr>
          <p:cNvPr id="18" name="Textplatzhalter 12">
            <a:extLst>
              <a:ext uri="{FF2B5EF4-FFF2-40B4-BE49-F238E27FC236}">
                <a16:creationId xmlns:a16="http://schemas.microsoft.com/office/drawing/2014/main" id="{09DBA38E-49F8-4FC3-91EB-6651365AD7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79425" y="4041068"/>
            <a:ext cx="7560000" cy="215444"/>
          </a:xfr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b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b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None/>
              <a:defRPr b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b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b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buNone/>
              <a:defRPr b="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buNone/>
              <a:defRPr b="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buNone/>
              <a:defRPr b="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buNone/>
              <a:defRPr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/>
              <a:t>Adresse bearbeiten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0E09A07B-ED1E-4A7D-84C6-3712D7D6CC4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gray">
          <a:xfrm>
            <a:off x="8940316" y="501157"/>
            <a:ext cx="2772258" cy="335456"/>
          </a:xfrm>
          <a:prstGeom prst="rect">
            <a:avLst/>
          </a:prstGeom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8388DE8D-4F3C-744E-BDBD-11743DAFDF98}"/>
              </a:ext>
            </a:extLst>
          </p:cNvPr>
          <p:cNvSpPr/>
          <p:nvPr userDrawn="1"/>
        </p:nvSpPr>
        <p:spPr bwMode="gray">
          <a:xfrm>
            <a:off x="479425" y="5395447"/>
            <a:ext cx="7560000" cy="90026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lvl="1" indent="0" algn="l">
              <a:lnSpc>
                <a:spcPct val="107000"/>
              </a:lnSpc>
            </a:pPr>
            <a:r>
              <a:rPr lang="en-US" sz="1400" noProof="0">
                <a:solidFill>
                  <a:schemeClr val="bg1"/>
                </a:solidFill>
              </a:rPr>
              <a:t>Please note: This presentation is the property of Bundesdruckerei GmbH. </a:t>
            </a:r>
          </a:p>
          <a:p>
            <a:pPr marL="0" lvl="1" indent="0" algn="l">
              <a:lnSpc>
                <a:spcPct val="107000"/>
              </a:lnSpc>
            </a:pPr>
            <a:r>
              <a:rPr lang="en-US" sz="1400" noProof="0">
                <a:solidFill>
                  <a:schemeClr val="bg1"/>
                </a:solidFill>
              </a:rPr>
              <a:t>All of the information contained herein may not be copied, distributed or published, </a:t>
            </a:r>
          </a:p>
          <a:p>
            <a:pPr marL="0" lvl="1" indent="0" algn="l">
              <a:lnSpc>
                <a:spcPct val="107000"/>
              </a:lnSpc>
            </a:pPr>
            <a:r>
              <a:rPr lang="en-US" sz="1400" noProof="0">
                <a:solidFill>
                  <a:schemeClr val="bg1"/>
                </a:solidFill>
              </a:rPr>
              <a:t>as a whole or in part, without the approval of Bundesdruckerei GmbH.</a:t>
            </a:r>
          </a:p>
          <a:p>
            <a:pPr marL="0" marR="0" lvl="1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noProof="0">
                <a:solidFill>
                  <a:schemeClr val="bg1"/>
                </a:solidFill>
              </a:rPr>
              <a:t>© 2022 by Bundesdruckerei GmbH</a:t>
            </a: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6EAF8C70-7D69-456F-B759-A92781A1500D}"/>
              </a:ext>
            </a:extLst>
          </p:cNvPr>
          <p:cNvGrpSpPr/>
          <p:nvPr userDrawn="1"/>
        </p:nvGrpSpPr>
        <p:grpSpPr bwMode="gray">
          <a:xfrm>
            <a:off x="10890237" y="5395446"/>
            <a:ext cx="822387" cy="821266"/>
            <a:chOff x="10783888" y="5395446"/>
            <a:chExt cx="822387" cy="821266"/>
          </a:xfrm>
        </p:grpSpPr>
        <p:pic>
          <p:nvPicPr>
            <p:cNvPr id="19" name="Grafik 18">
              <a:extLst>
                <a:ext uri="{FF2B5EF4-FFF2-40B4-BE49-F238E27FC236}">
                  <a16:creationId xmlns:a16="http://schemas.microsoft.com/office/drawing/2014/main" id="{D50133F6-D61A-4146-A81D-47F7A512EE1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gray">
            <a:xfrm>
              <a:off x="10783888" y="5395912"/>
              <a:ext cx="822387" cy="820800"/>
            </a:xfrm>
            <a:prstGeom prst="rect">
              <a:avLst/>
            </a:prstGeom>
          </p:spPr>
        </p:pic>
        <p:pic>
          <p:nvPicPr>
            <p:cNvPr id="20" name="Grafik 19">
              <a:extLst>
                <a:ext uri="{FF2B5EF4-FFF2-40B4-BE49-F238E27FC236}">
                  <a16:creationId xmlns:a16="http://schemas.microsoft.com/office/drawing/2014/main" id="{52C857D8-F6C3-4043-B5D6-F162336DC25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10783947" y="5395446"/>
              <a:ext cx="820800" cy="8208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943070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- Varian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04EA2699-D660-4D61-8924-9C003373ED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11045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04EA2699-D660-4D61-8924-9C003373ED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>
            <a:extLst>
              <a:ext uri="{FF2B5EF4-FFF2-40B4-BE49-F238E27FC236}">
                <a16:creationId xmlns:a16="http://schemas.microsoft.com/office/drawing/2014/main" id="{0519D3CF-2557-41AF-B6FC-1D44390069D3}"/>
              </a:ext>
            </a:extLst>
          </p:cNvPr>
          <p:cNvSpPr/>
          <p:nvPr userDrawn="1"/>
        </p:nvSpPr>
        <p:spPr bwMode="gray">
          <a:xfrm>
            <a:off x="0" y="1341438"/>
            <a:ext cx="12192000" cy="55165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noProof="0"/>
          </a:p>
        </p:txBody>
      </p:sp>
      <p:sp>
        <p:nvSpPr>
          <p:cNvPr id="19" name="Freihandform: Form 18">
            <a:extLst>
              <a:ext uri="{FF2B5EF4-FFF2-40B4-BE49-F238E27FC236}">
                <a16:creationId xmlns:a16="http://schemas.microsoft.com/office/drawing/2014/main" id="{9B830A20-C49D-46A6-85F2-FA740C360DAD}"/>
              </a:ext>
            </a:extLst>
          </p:cNvPr>
          <p:cNvSpPr/>
          <p:nvPr userDrawn="1"/>
        </p:nvSpPr>
        <p:spPr bwMode="gray">
          <a:xfrm>
            <a:off x="0" y="1341438"/>
            <a:ext cx="5053463" cy="4319883"/>
          </a:xfrm>
          <a:custGeom>
            <a:avLst/>
            <a:gdLst>
              <a:gd name="connsiteX0" fmla="*/ 2073450 w 5053463"/>
              <a:gd name="connsiteY0" fmla="*/ 0 h 4319883"/>
              <a:gd name="connsiteX1" fmla="*/ 5053463 w 5053463"/>
              <a:gd name="connsiteY1" fmla="*/ 0 h 4319883"/>
              <a:gd name="connsiteX2" fmla="*/ 5053463 w 5053463"/>
              <a:gd name="connsiteY2" fmla="*/ 1339880 h 4319883"/>
              <a:gd name="connsiteX3" fmla="*/ 2073450 w 5053463"/>
              <a:gd name="connsiteY3" fmla="*/ 4319883 h 4319883"/>
              <a:gd name="connsiteX4" fmla="*/ 0 w 5053463"/>
              <a:gd name="connsiteY4" fmla="*/ 4319883 h 4319883"/>
              <a:gd name="connsiteX5" fmla="*/ 0 w 5053463"/>
              <a:gd name="connsiteY5" fmla="*/ 1338242 h 4319883"/>
              <a:gd name="connsiteX6" fmla="*/ 1775257 w 5053463"/>
              <a:gd name="connsiteY6" fmla="*/ 1338242 h 4319883"/>
              <a:gd name="connsiteX7" fmla="*/ 1775399 w 5053463"/>
              <a:gd name="connsiteY7" fmla="*/ 1338242 h 4319883"/>
              <a:gd name="connsiteX8" fmla="*/ 2073450 w 5053463"/>
              <a:gd name="connsiteY8" fmla="*/ 1040077 h 43198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053463" h="4319883">
                <a:moveTo>
                  <a:pt x="2073450" y="0"/>
                </a:moveTo>
                <a:lnTo>
                  <a:pt x="5053463" y="0"/>
                </a:lnTo>
                <a:lnTo>
                  <a:pt x="5053463" y="1339880"/>
                </a:lnTo>
                <a:cubicBezTo>
                  <a:pt x="5053463" y="2985694"/>
                  <a:pt x="3719235" y="4319883"/>
                  <a:pt x="2073450" y="4319883"/>
                </a:cubicBezTo>
                <a:lnTo>
                  <a:pt x="0" y="4319883"/>
                </a:lnTo>
                <a:lnTo>
                  <a:pt x="0" y="1338242"/>
                </a:lnTo>
                <a:lnTo>
                  <a:pt x="1775257" y="1338242"/>
                </a:lnTo>
                <a:cubicBezTo>
                  <a:pt x="1775304" y="1338242"/>
                  <a:pt x="1775352" y="1338242"/>
                  <a:pt x="1775399" y="1338242"/>
                </a:cubicBezTo>
                <a:cubicBezTo>
                  <a:pt x="1940044" y="1338213"/>
                  <a:pt x="2073479" y="1204721"/>
                  <a:pt x="2073450" y="1040077"/>
                </a:cubicBezTo>
                <a:close/>
              </a:path>
            </a:pathLst>
          </a:custGeom>
          <a:solidFill>
            <a:srgbClr val="F6F6F6"/>
          </a:solidFill>
          <a:ln w="4029" cap="flat">
            <a:noFill/>
            <a:prstDash val="solid"/>
            <a:miter/>
          </a:ln>
        </p:spPr>
        <p:txBody>
          <a:bodyPr rtlCol="0" anchor="ctr"/>
          <a:lstStyle/>
          <a:p>
            <a:endParaRPr lang="de-DE" noProof="0"/>
          </a:p>
        </p:txBody>
      </p:sp>
      <p:sp>
        <p:nvSpPr>
          <p:cNvPr id="27" name="Freihandform: Form 26">
            <a:extLst>
              <a:ext uri="{FF2B5EF4-FFF2-40B4-BE49-F238E27FC236}">
                <a16:creationId xmlns:a16="http://schemas.microsoft.com/office/drawing/2014/main" id="{79171738-7346-4603-96B0-3FAA4A9C768D}"/>
              </a:ext>
            </a:extLst>
          </p:cNvPr>
          <p:cNvSpPr/>
          <p:nvPr userDrawn="1"/>
        </p:nvSpPr>
        <p:spPr bwMode="gray">
          <a:xfrm>
            <a:off x="8953984" y="1341438"/>
            <a:ext cx="3238016" cy="2659790"/>
          </a:xfrm>
          <a:custGeom>
            <a:avLst/>
            <a:gdLst>
              <a:gd name="connsiteX0" fmla="*/ 0 w 3238016"/>
              <a:gd name="connsiteY0" fmla="*/ 0 h 2659790"/>
              <a:gd name="connsiteX1" fmla="*/ 3238016 w 3238016"/>
              <a:gd name="connsiteY1" fmla="*/ 0 h 2659790"/>
              <a:gd name="connsiteX2" fmla="*/ 3238016 w 3238016"/>
              <a:gd name="connsiteY2" fmla="*/ 2659790 h 2659790"/>
              <a:gd name="connsiteX3" fmla="*/ 2684806 w 3238016"/>
              <a:gd name="connsiteY3" fmla="*/ 2659790 h 2659790"/>
              <a:gd name="connsiteX4" fmla="*/ 12537 w 3238016"/>
              <a:gd name="connsiteY4" fmla="*/ 248296 h 26597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38016" h="2659790">
                <a:moveTo>
                  <a:pt x="0" y="0"/>
                </a:moveTo>
                <a:lnTo>
                  <a:pt x="3238016" y="0"/>
                </a:lnTo>
                <a:lnTo>
                  <a:pt x="3238016" y="2659790"/>
                </a:lnTo>
                <a:lnTo>
                  <a:pt x="2684806" y="2659790"/>
                </a:lnTo>
                <a:cubicBezTo>
                  <a:pt x="1294005" y="2659790"/>
                  <a:pt x="150094" y="1602803"/>
                  <a:pt x="12537" y="248296"/>
                </a:cubicBezTo>
                <a:close/>
              </a:path>
            </a:pathLst>
          </a:custGeom>
          <a:solidFill>
            <a:srgbClr val="F6F6F6"/>
          </a:solidFill>
          <a:ln w="4029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de-DE" noProof="0"/>
          </a:p>
        </p:txBody>
      </p:sp>
      <p:sp>
        <p:nvSpPr>
          <p:cNvPr id="20" name="Freihandform: Form 19">
            <a:extLst>
              <a:ext uri="{FF2B5EF4-FFF2-40B4-BE49-F238E27FC236}">
                <a16:creationId xmlns:a16="http://schemas.microsoft.com/office/drawing/2014/main" id="{9F9DEB05-299C-4FB1-98DD-B4412C8962A4}"/>
              </a:ext>
            </a:extLst>
          </p:cNvPr>
          <p:cNvSpPr/>
          <p:nvPr/>
        </p:nvSpPr>
        <p:spPr bwMode="gray">
          <a:xfrm>
            <a:off x="6248898" y="2983723"/>
            <a:ext cx="5943103" cy="3877547"/>
          </a:xfrm>
          <a:custGeom>
            <a:avLst/>
            <a:gdLst>
              <a:gd name="connsiteX0" fmla="*/ 2946939 w 5943103"/>
              <a:gd name="connsiteY0" fmla="*/ 0 h 3877547"/>
              <a:gd name="connsiteX1" fmla="*/ 5943103 w 5943103"/>
              <a:gd name="connsiteY1" fmla="*/ 0 h 3877547"/>
              <a:gd name="connsiteX2" fmla="*/ 5943103 w 5943103"/>
              <a:gd name="connsiteY2" fmla="*/ 63357 h 3877547"/>
              <a:gd name="connsiteX3" fmla="*/ 2946939 w 5943103"/>
              <a:gd name="connsiteY3" fmla="*/ 63357 h 3877547"/>
              <a:gd name="connsiteX4" fmla="*/ 63348 w 5943103"/>
              <a:gd name="connsiteY4" fmla="*/ 2946928 h 3877547"/>
              <a:gd name="connsiteX5" fmla="*/ 63348 w 5943103"/>
              <a:gd name="connsiteY5" fmla="*/ 3877547 h 3877547"/>
              <a:gd name="connsiteX6" fmla="*/ 0 w 5943103"/>
              <a:gd name="connsiteY6" fmla="*/ 3877547 h 3877547"/>
              <a:gd name="connsiteX7" fmla="*/ 0 w 5943103"/>
              <a:gd name="connsiteY7" fmla="*/ 2946910 h 3877547"/>
              <a:gd name="connsiteX8" fmla="*/ 2946939 w 5943103"/>
              <a:gd name="connsiteY8" fmla="*/ 0 h 38775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943103" h="3877547">
                <a:moveTo>
                  <a:pt x="2946939" y="0"/>
                </a:moveTo>
                <a:lnTo>
                  <a:pt x="5943103" y="0"/>
                </a:lnTo>
                <a:lnTo>
                  <a:pt x="5943103" y="63357"/>
                </a:lnTo>
                <a:lnTo>
                  <a:pt x="2946939" y="63357"/>
                </a:lnTo>
                <a:cubicBezTo>
                  <a:pt x="1356926" y="63357"/>
                  <a:pt x="63348" y="1356926"/>
                  <a:pt x="63348" y="2946928"/>
                </a:cubicBezTo>
                <a:lnTo>
                  <a:pt x="63348" y="3877547"/>
                </a:lnTo>
                <a:lnTo>
                  <a:pt x="0" y="3877547"/>
                </a:lnTo>
                <a:lnTo>
                  <a:pt x="0" y="2946910"/>
                </a:lnTo>
                <a:cubicBezTo>
                  <a:pt x="9" y="1319369"/>
                  <a:pt x="1319398" y="-10"/>
                  <a:pt x="2946939" y="0"/>
                </a:cubicBezTo>
                <a:close/>
              </a:path>
            </a:pathLst>
          </a:custGeom>
          <a:solidFill>
            <a:schemeClr val="accent3"/>
          </a:solidFill>
          <a:ln w="9539" cap="flat">
            <a:noFill/>
            <a:prstDash val="solid"/>
            <a:miter/>
          </a:ln>
        </p:spPr>
        <p:txBody>
          <a:bodyPr rtlCol="0" anchor="ctr"/>
          <a:lstStyle/>
          <a:p>
            <a:endParaRPr lang="de-DE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9248FAA-9EC8-4B5A-ABCF-6D6EEA0A3C1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479424" y="2865939"/>
            <a:ext cx="5760000" cy="1169551"/>
          </a:xfrm>
        </p:spPr>
        <p:txBody>
          <a:bodyPr vert="horz" anchor="b" anchorCtr="0"/>
          <a:lstStyle>
            <a:lvl1pPr algn="l">
              <a:lnSpc>
                <a:spcPct val="100000"/>
              </a:lnSpc>
              <a:defRPr sz="38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Präsentationstitel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0A368C6A-8EA2-41AA-B98E-13E7784A8A7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79424" y="4107498"/>
            <a:ext cx="5760000" cy="584775"/>
          </a:xfrm>
        </p:spPr>
        <p:txBody>
          <a:bodyPr>
            <a:spAutoFit/>
          </a:bodyPr>
          <a:lstStyle>
            <a:lvl1pPr marL="0" indent="0" algn="l">
              <a:lnSpc>
                <a:spcPct val="100000"/>
              </a:lnSpc>
              <a:buNone/>
              <a:tabLst>
                <a:tab pos="1706563" algn="l"/>
              </a:tabLst>
              <a:defRPr sz="380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buNone/>
              <a:tabLst>
                <a:tab pos="1706563" algn="l"/>
              </a:tabLst>
              <a:defRPr sz="16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buNone/>
              <a:tabLst>
                <a:tab pos="1706563" algn="l"/>
              </a:tabLst>
              <a:defRPr sz="16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tabLst/>
              <a:defRPr sz="16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/>
              <a:t>Untertitel bearbeiten</a:t>
            </a:r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D1897444-9F39-4D24-9E8C-B85EE2656660}"/>
              </a:ext>
            </a:extLst>
          </p:cNvPr>
          <p:cNvSpPr/>
          <p:nvPr/>
        </p:nvSpPr>
        <p:spPr bwMode="gray">
          <a:xfrm>
            <a:off x="9164156" y="5900566"/>
            <a:ext cx="3027844" cy="960703"/>
          </a:xfrm>
          <a:custGeom>
            <a:avLst/>
            <a:gdLst>
              <a:gd name="connsiteX0" fmla="*/ 323352 w 3027844"/>
              <a:gd name="connsiteY0" fmla="*/ 0 h 960703"/>
              <a:gd name="connsiteX1" fmla="*/ 3027844 w 3027844"/>
              <a:gd name="connsiteY1" fmla="*/ 0 h 960703"/>
              <a:gd name="connsiteX2" fmla="*/ 3027844 w 3027844"/>
              <a:gd name="connsiteY2" fmla="*/ 63367 h 960703"/>
              <a:gd name="connsiteX3" fmla="*/ 323352 w 3027844"/>
              <a:gd name="connsiteY3" fmla="*/ 63367 h 960703"/>
              <a:gd name="connsiteX4" fmla="*/ 63357 w 3027844"/>
              <a:gd name="connsiteY4" fmla="*/ 323380 h 960703"/>
              <a:gd name="connsiteX5" fmla="*/ 63357 w 3027844"/>
              <a:gd name="connsiteY5" fmla="*/ 960703 h 960703"/>
              <a:gd name="connsiteX6" fmla="*/ 0 w 3027844"/>
              <a:gd name="connsiteY6" fmla="*/ 960703 h 960703"/>
              <a:gd name="connsiteX7" fmla="*/ 0 w 3027844"/>
              <a:gd name="connsiteY7" fmla="*/ 323380 h 960703"/>
              <a:gd name="connsiteX8" fmla="*/ 323352 w 3027844"/>
              <a:gd name="connsiteY8" fmla="*/ 0 h 9607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027844" h="960703">
                <a:moveTo>
                  <a:pt x="323352" y="0"/>
                </a:moveTo>
                <a:lnTo>
                  <a:pt x="3027844" y="0"/>
                </a:lnTo>
                <a:lnTo>
                  <a:pt x="3027844" y="63367"/>
                </a:lnTo>
                <a:lnTo>
                  <a:pt x="323352" y="63367"/>
                </a:lnTo>
                <a:cubicBezTo>
                  <a:pt x="179824" y="63529"/>
                  <a:pt x="63519" y="179843"/>
                  <a:pt x="63357" y="323380"/>
                </a:cubicBezTo>
                <a:lnTo>
                  <a:pt x="63357" y="960703"/>
                </a:lnTo>
                <a:lnTo>
                  <a:pt x="0" y="960703"/>
                </a:lnTo>
                <a:lnTo>
                  <a:pt x="0" y="323380"/>
                </a:lnTo>
                <a:cubicBezTo>
                  <a:pt x="190" y="144873"/>
                  <a:pt x="144844" y="210"/>
                  <a:pt x="323352" y="0"/>
                </a:cubicBezTo>
                <a:close/>
              </a:path>
            </a:pathLst>
          </a:custGeom>
          <a:solidFill>
            <a:schemeClr val="accent3"/>
          </a:solidFill>
          <a:ln w="9539" cap="flat">
            <a:noFill/>
            <a:prstDash val="solid"/>
            <a:miter/>
          </a:ln>
        </p:spPr>
        <p:txBody>
          <a:bodyPr rtlCol="0" anchor="ctr"/>
          <a:lstStyle/>
          <a:p>
            <a:endParaRPr lang="de-DE" noProof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05F000C1-AC7C-4069-B50D-20CE60EAD19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gray">
          <a:xfrm>
            <a:off x="8940316" y="501157"/>
            <a:ext cx="2772258" cy="335456"/>
          </a:xfrm>
          <a:prstGeom prst="rect">
            <a:avLst/>
          </a:prstGeom>
        </p:spPr>
      </p:pic>
      <p:sp>
        <p:nvSpPr>
          <p:cNvPr id="16" name="Untertitel 2">
            <a:extLst>
              <a:ext uri="{FF2B5EF4-FFF2-40B4-BE49-F238E27FC236}">
                <a16:creationId xmlns:a16="http://schemas.microsoft.com/office/drawing/2014/main" id="{6A16D379-4133-4061-979A-7D9FC10D4CFA}"/>
              </a:ext>
            </a:extLst>
          </p:cNvPr>
          <p:cNvSpPr txBox="1">
            <a:spLocks/>
          </p:cNvSpPr>
          <p:nvPr userDrawn="1"/>
        </p:nvSpPr>
        <p:spPr bwMode="gray">
          <a:xfrm>
            <a:off x="479377" y="5589240"/>
            <a:ext cx="1044116" cy="73866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tabLst>
                <a:tab pos="1706563" algn="l"/>
              </a:tabLst>
              <a:defRPr sz="3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tabLst>
                <a:tab pos="1706563" algn="l"/>
              </a:tabLst>
              <a:defRPr sz="3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tabLst>
                <a:tab pos="1706563" algn="l"/>
              </a:tabLst>
              <a:defRPr sz="3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3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3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3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3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tabLst/>
              <a:defRPr sz="3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3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de-DE" sz="1600" noProof="0">
                <a:solidFill>
                  <a:schemeClr val="tx1"/>
                </a:solidFill>
              </a:rPr>
              <a:t>Datum</a:t>
            </a:r>
            <a:br>
              <a:rPr lang="de-DE" sz="1600" noProof="0">
                <a:solidFill>
                  <a:schemeClr val="tx1"/>
                </a:solidFill>
              </a:rPr>
            </a:br>
            <a:r>
              <a:rPr lang="de-DE" sz="1600" noProof="0">
                <a:solidFill>
                  <a:schemeClr val="tx1"/>
                </a:solidFill>
              </a:rPr>
              <a:t>Ort</a:t>
            </a:r>
            <a:br>
              <a:rPr lang="de-DE" sz="1600" noProof="0">
                <a:solidFill>
                  <a:schemeClr val="tx1"/>
                </a:solidFill>
              </a:rPr>
            </a:br>
            <a:r>
              <a:rPr lang="de-DE" sz="1600" noProof="0">
                <a:solidFill>
                  <a:schemeClr val="tx1"/>
                </a:solidFill>
              </a:rPr>
              <a:t>Verfasser</a:t>
            </a:r>
          </a:p>
        </p:txBody>
      </p:sp>
      <p:sp>
        <p:nvSpPr>
          <p:cNvPr id="17" name="Textplatzhalter 8">
            <a:extLst>
              <a:ext uri="{FF2B5EF4-FFF2-40B4-BE49-F238E27FC236}">
                <a16:creationId xmlns:a16="http://schemas.microsoft.com/office/drawing/2014/main" id="{2185BFA3-C4F6-41F8-A80C-FB4D46DC0AF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207568" y="5589240"/>
            <a:ext cx="3816000" cy="73866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6pPr>
            <a:lvl7pPr marL="0" indent="0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7pPr>
            <a:lvl8pPr marL="0" indent="0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sz="1600" noProof="0"/>
              <a:t>Datum bearbeiten</a:t>
            </a:r>
            <a:br>
              <a:rPr lang="de-DE" sz="1600" noProof="0"/>
            </a:br>
            <a:r>
              <a:rPr lang="de-DE" sz="1600" noProof="0"/>
              <a:t>Ort bearbeiten</a:t>
            </a:r>
            <a:br>
              <a:rPr lang="de-DE" sz="1600" noProof="0"/>
            </a:br>
            <a:r>
              <a:rPr lang="de-DE" sz="1600" noProof="0"/>
              <a:t>Verfasser bearbeiten</a:t>
            </a:r>
          </a:p>
        </p:txBody>
      </p:sp>
    </p:spTree>
    <p:extLst>
      <p:ext uri="{BB962C8B-B14F-4D97-AF65-F5344CB8AC3E}">
        <p14:creationId xmlns:p14="http://schemas.microsoft.com/office/powerpoint/2010/main" val="38640119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- Varian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484BD775-31CF-48F1-8962-8E7220BD6B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14981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484BD775-31CF-48F1-8962-8E7220BD6B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>
            <a:extLst>
              <a:ext uri="{FF2B5EF4-FFF2-40B4-BE49-F238E27FC236}">
                <a16:creationId xmlns:a16="http://schemas.microsoft.com/office/drawing/2014/main" id="{0519D3CF-2557-41AF-B6FC-1D44390069D3}"/>
              </a:ext>
            </a:extLst>
          </p:cNvPr>
          <p:cNvSpPr/>
          <p:nvPr userDrawn="1"/>
        </p:nvSpPr>
        <p:spPr bwMode="ltGray">
          <a:xfrm>
            <a:off x="0" y="1341438"/>
            <a:ext cx="12192000" cy="551656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9248FAA-9EC8-4B5A-ABCF-6D6EEA0A3C1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875469" y="2276872"/>
            <a:ext cx="10837106" cy="1169551"/>
          </a:xfrm>
        </p:spPr>
        <p:txBody>
          <a:bodyPr vert="horz" anchor="t" anchorCtr="0"/>
          <a:lstStyle>
            <a:lvl1pPr algn="l">
              <a:lnSpc>
                <a:spcPct val="1000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Präsentationstitel bearbeiten (für längere Texte – maximal zweizeilig)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0A368C6A-8EA2-41AA-B98E-13E7784A8A7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874713" y="3518431"/>
            <a:ext cx="10837863" cy="584775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None/>
              <a:tabLst>
                <a:tab pos="1706563" algn="l"/>
              </a:tabLst>
              <a:defRPr sz="380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buNone/>
              <a:tabLst>
                <a:tab pos="1706563" algn="l"/>
              </a:tabLst>
              <a:defRPr sz="16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buNone/>
              <a:tabLst>
                <a:tab pos="1706563" algn="l"/>
              </a:tabLst>
              <a:defRPr sz="16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tabLst/>
              <a:defRPr sz="16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/>
              <a:t>Untertitel bearbeiten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81137EFA-D253-4D55-9853-8DE499F829A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gray">
          <a:xfrm>
            <a:off x="479376" y="1977477"/>
            <a:ext cx="899368" cy="589908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B2A1A35A-B93F-4D6D-8BF0-C43C7C868C3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 bwMode="gray">
          <a:xfrm>
            <a:off x="8940316" y="501157"/>
            <a:ext cx="2772258" cy="335456"/>
          </a:xfrm>
          <a:prstGeom prst="rect">
            <a:avLst/>
          </a:prstGeom>
        </p:spPr>
      </p:pic>
      <p:sp>
        <p:nvSpPr>
          <p:cNvPr id="14" name="Untertitel 2">
            <a:extLst>
              <a:ext uri="{FF2B5EF4-FFF2-40B4-BE49-F238E27FC236}">
                <a16:creationId xmlns:a16="http://schemas.microsoft.com/office/drawing/2014/main" id="{49674FDB-8535-46FC-B395-914EA8515C0B}"/>
              </a:ext>
            </a:extLst>
          </p:cNvPr>
          <p:cNvSpPr txBox="1">
            <a:spLocks/>
          </p:cNvSpPr>
          <p:nvPr userDrawn="1"/>
        </p:nvSpPr>
        <p:spPr bwMode="gray">
          <a:xfrm>
            <a:off x="479377" y="5589240"/>
            <a:ext cx="1044116" cy="73866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tabLst>
                <a:tab pos="1706563" algn="l"/>
              </a:tabLst>
              <a:defRPr sz="3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tabLst>
                <a:tab pos="1706563" algn="l"/>
              </a:tabLst>
              <a:defRPr sz="3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tabLst>
                <a:tab pos="1706563" algn="l"/>
              </a:tabLst>
              <a:defRPr sz="3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3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3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3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3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tabLst/>
              <a:defRPr sz="3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3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de-DE" sz="1600" noProof="0"/>
              <a:t>Datum</a:t>
            </a:r>
            <a:br>
              <a:rPr lang="de-DE" sz="1600" noProof="0"/>
            </a:br>
            <a:r>
              <a:rPr lang="de-DE" sz="1600" noProof="0"/>
              <a:t>Ort</a:t>
            </a:r>
            <a:br>
              <a:rPr lang="de-DE" sz="1600" noProof="0"/>
            </a:br>
            <a:r>
              <a:rPr lang="de-DE" sz="1600" noProof="0"/>
              <a:t>Verfasser</a:t>
            </a:r>
          </a:p>
        </p:txBody>
      </p:sp>
      <p:sp>
        <p:nvSpPr>
          <p:cNvPr id="15" name="Textplatzhalter 8">
            <a:extLst>
              <a:ext uri="{FF2B5EF4-FFF2-40B4-BE49-F238E27FC236}">
                <a16:creationId xmlns:a16="http://schemas.microsoft.com/office/drawing/2014/main" id="{317BC223-F864-4F25-9E03-D00DDB51EB8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207568" y="5589240"/>
            <a:ext cx="3816000" cy="73866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sz="1600" noProof="0"/>
              <a:t>Datum bearbeiten</a:t>
            </a:r>
            <a:br>
              <a:rPr lang="de-DE" sz="1600" noProof="0"/>
            </a:br>
            <a:r>
              <a:rPr lang="de-DE" sz="1600" noProof="0"/>
              <a:t>Ort bearbeiten</a:t>
            </a:r>
            <a:br>
              <a:rPr lang="de-DE" sz="1600" noProof="0"/>
            </a:br>
            <a:r>
              <a:rPr lang="de-DE" sz="1600" noProof="0"/>
              <a:t>Verfasser bearbeiten</a:t>
            </a:r>
          </a:p>
        </p:txBody>
      </p:sp>
    </p:spTree>
    <p:extLst>
      <p:ext uri="{BB962C8B-B14F-4D97-AF65-F5344CB8AC3E}">
        <p14:creationId xmlns:p14="http://schemas.microsoft.com/office/powerpoint/2010/main" val="12418159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45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- Variant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54501CC-01B7-4235-A9D5-F7F3A124B9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57476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54501CC-01B7-4235-A9D5-F7F3A124B9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>
            <a:extLst>
              <a:ext uri="{FF2B5EF4-FFF2-40B4-BE49-F238E27FC236}">
                <a16:creationId xmlns:a16="http://schemas.microsoft.com/office/drawing/2014/main" id="{0519D3CF-2557-41AF-B6FC-1D44390069D3}"/>
              </a:ext>
            </a:extLst>
          </p:cNvPr>
          <p:cNvSpPr/>
          <p:nvPr userDrawn="1"/>
        </p:nvSpPr>
        <p:spPr bwMode="gray">
          <a:xfrm>
            <a:off x="0" y="1341438"/>
            <a:ext cx="12192000" cy="55165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9248FAA-9EC8-4B5A-ABCF-6D6EEA0A3C1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875469" y="2276872"/>
            <a:ext cx="10837106" cy="1169551"/>
          </a:xfrm>
        </p:spPr>
        <p:txBody>
          <a:bodyPr vert="horz" anchor="t" anchorCtr="0"/>
          <a:lstStyle>
            <a:lvl1pPr algn="l">
              <a:lnSpc>
                <a:spcPct val="100000"/>
              </a:lnSpc>
              <a:defRPr sz="38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Präsentationstitel bearbeiten (für längere Texte – maximal zweizeilig)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0A368C6A-8EA2-41AA-B98E-13E7784A8A7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874713" y="3518431"/>
            <a:ext cx="10837863" cy="584775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None/>
              <a:tabLst>
                <a:tab pos="1706563" algn="l"/>
              </a:tabLst>
              <a:defRPr sz="380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buNone/>
              <a:tabLst>
                <a:tab pos="1706563" algn="l"/>
              </a:tabLst>
              <a:defRPr sz="16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buNone/>
              <a:tabLst>
                <a:tab pos="1706563" algn="l"/>
              </a:tabLst>
              <a:defRPr sz="16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tabLst/>
              <a:defRPr sz="16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/>
              <a:t>Untertitel bearbeiten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81137EFA-D253-4D55-9853-8DE499F829A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gray">
          <a:xfrm>
            <a:off x="479376" y="1977477"/>
            <a:ext cx="899368" cy="589908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EAB9C1F6-238C-4B2B-974A-FE7E14C292E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 bwMode="gray">
          <a:xfrm>
            <a:off x="8940316" y="501157"/>
            <a:ext cx="2772258" cy="335456"/>
          </a:xfrm>
          <a:prstGeom prst="rect">
            <a:avLst/>
          </a:prstGeom>
        </p:spPr>
      </p:pic>
      <p:sp>
        <p:nvSpPr>
          <p:cNvPr id="12" name="Untertitel 2">
            <a:extLst>
              <a:ext uri="{FF2B5EF4-FFF2-40B4-BE49-F238E27FC236}">
                <a16:creationId xmlns:a16="http://schemas.microsoft.com/office/drawing/2014/main" id="{6FBAB4B5-0616-45B9-BB4C-AEB9DD6DD22C}"/>
              </a:ext>
            </a:extLst>
          </p:cNvPr>
          <p:cNvSpPr txBox="1">
            <a:spLocks/>
          </p:cNvSpPr>
          <p:nvPr userDrawn="1"/>
        </p:nvSpPr>
        <p:spPr bwMode="gray">
          <a:xfrm>
            <a:off x="479377" y="5589240"/>
            <a:ext cx="1044116" cy="73866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tabLst>
                <a:tab pos="1706563" algn="l"/>
              </a:tabLst>
              <a:defRPr sz="3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tabLst>
                <a:tab pos="1706563" algn="l"/>
              </a:tabLst>
              <a:defRPr sz="3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tabLst>
                <a:tab pos="1706563" algn="l"/>
              </a:tabLst>
              <a:defRPr sz="3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3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3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3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3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tabLst/>
              <a:defRPr sz="3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3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de-DE" sz="1600" noProof="0">
                <a:solidFill>
                  <a:schemeClr val="tx1"/>
                </a:solidFill>
              </a:rPr>
              <a:t>Datum</a:t>
            </a:r>
            <a:br>
              <a:rPr lang="de-DE" sz="1600" noProof="0">
                <a:solidFill>
                  <a:schemeClr val="tx1"/>
                </a:solidFill>
              </a:rPr>
            </a:br>
            <a:r>
              <a:rPr lang="de-DE" sz="1600" noProof="0">
                <a:solidFill>
                  <a:schemeClr val="tx1"/>
                </a:solidFill>
              </a:rPr>
              <a:t>Ort</a:t>
            </a:r>
            <a:br>
              <a:rPr lang="de-DE" sz="1600" noProof="0">
                <a:solidFill>
                  <a:schemeClr val="tx1"/>
                </a:solidFill>
              </a:rPr>
            </a:br>
            <a:r>
              <a:rPr lang="de-DE" sz="1600" noProof="0">
                <a:solidFill>
                  <a:schemeClr val="tx1"/>
                </a:solidFill>
              </a:rPr>
              <a:t>Verfasser</a:t>
            </a:r>
          </a:p>
        </p:txBody>
      </p:sp>
      <p:sp>
        <p:nvSpPr>
          <p:cNvPr id="13" name="Textplatzhalter 8">
            <a:extLst>
              <a:ext uri="{FF2B5EF4-FFF2-40B4-BE49-F238E27FC236}">
                <a16:creationId xmlns:a16="http://schemas.microsoft.com/office/drawing/2014/main" id="{0D8C6B05-9ECB-45D8-AE7F-5256E124ECA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207568" y="5589240"/>
            <a:ext cx="3816000" cy="73866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6pPr>
            <a:lvl7pPr marL="0" indent="0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7pPr>
            <a:lvl8pPr marL="0" indent="0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sz="1600" noProof="0"/>
              <a:t>Datum bearbeiten</a:t>
            </a:r>
            <a:br>
              <a:rPr lang="de-DE" sz="1600" noProof="0"/>
            </a:br>
            <a:r>
              <a:rPr lang="de-DE" sz="1600" noProof="0"/>
              <a:t>Ort bearbeiten</a:t>
            </a:r>
            <a:br>
              <a:rPr lang="de-DE" sz="1600" noProof="0"/>
            </a:br>
            <a:r>
              <a:rPr lang="de-DE" sz="1600" noProof="0"/>
              <a:t>Verfasser bearbeiten</a:t>
            </a:r>
          </a:p>
        </p:txBody>
      </p:sp>
    </p:spTree>
    <p:extLst>
      <p:ext uri="{BB962C8B-B14F-4D97-AF65-F5344CB8AC3E}">
        <p14:creationId xmlns:p14="http://schemas.microsoft.com/office/powerpoint/2010/main" val="27707431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25CD347-EE17-41D2-8963-56566B83A4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628513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25CD347-EE17-41D2-8963-56566B83A4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5DE84E8-788D-4F05-AB36-0DCA92BB8F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/>
            </a:lvl1pPr>
          </a:lstStyle>
          <a:p>
            <a:r>
              <a:rPr lang="de-DE" noProof="0"/>
              <a:t>Agenda bearbeiten</a:t>
            </a:r>
          </a:p>
        </p:txBody>
      </p:sp>
      <p:sp>
        <p:nvSpPr>
          <p:cNvPr id="6" name="Textplatzhalter 7">
            <a:extLst>
              <a:ext uri="{FF2B5EF4-FFF2-40B4-BE49-F238E27FC236}">
                <a16:creationId xmlns:a16="http://schemas.microsoft.com/office/drawing/2014/main" id="{F39F38BF-E2CC-4A28-B622-B5725CD524F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9424" y="446475"/>
            <a:ext cx="9324988" cy="246221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buNone/>
              <a:defRPr sz="1600"/>
            </a:lvl1pPr>
          </a:lstStyle>
          <a:p>
            <a:pPr lvl="0"/>
            <a:r>
              <a:rPr lang="de-DE" noProof="0"/>
              <a:t>Text bearbeiten</a:t>
            </a:r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id="{D2126821-17F4-4BF6-91A4-56E245C1A38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79424" y="1628800"/>
            <a:ext cx="11233150" cy="4284638"/>
          </a:xfrm>
        </p:spPr>
        <p:txBody>
          <a:bodyPr anchor="t" anchorCtr="0"/>
          <a:lstStyle>
            <a:lvl1pPr marL="288000" indent="-288000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+mj-lt"/>
              <a:buAutoNum type="arabicPeriod"/>
              <a:defRPr sz="1600"/>
            </a:lvl1pPr>
          </a:lstStyle>
          <a:p>
            <a:pPr lvl="0"/>
            <a:r>
              <a:rPr lang="de-DE" noProof="0"/>
              <a:t>Agendapunkte bearbeiten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915A5FA1-F5AE-4B7F-B7FA-D0EAEA83E501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de-DE" noProof="0"/>
              <a:t>17.07.2024</a:t>
            </a:r>
          </a:p>
        </p:txBody>
      </p:sp>
      <p:sp>
        <p:nvSpPr>
          <p:cNvPr id="12" name="Fußzeilenplatzhalter 11">
            <a:extLst>
              <a:ext uri="{FF2B5EF4-FFF2-40B4-BE49-F238E27FC236}">
                <a16:creationId xmlns:a16="http://schemas.microsoft.com/office/drawing/2014/main" id="{C85092B6-FFCF-49A7-A06A-9AC3BB5A212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de-DE" noProof="0"/>
              <a:t>Klassifizierung nicht vertraulich</a:t>
            </a: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CCA4CA8C-3685-461C-90E4-96D07FCD99D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645586CC-6D24-4895-9441-71B1281C15CA}" type="slidenum">
              <a:rPr lang="de-DE" noProof="0" smtClean="0"/>
              <a:pPr/>
              <a:t>‹Nr.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11150441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76E1B6E-DFC2-4407-B314-09D1DC50A5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31718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376E1B6E-DFC2-4407-B314-09D1DC50A5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>
            <a:extLst>
              <a:ext uri="{FF2B5EF4-FFF2-40B4-BE49-F238E27FC236}">
                <a16:creationId xmlns:a16="http://schemas.microsoft.com/office/drawing/2014/main" id="{0519D3CF-2557-41AF-B6FC-1D44390069D3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rgbClr val="F6F6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 noProof="0"/>
          </a:p>
        </p:txBody>
      </p:sp>
      <p:sp>
        <p:nvSpPr>
          <p:cNvPr id="31" name="Freihandform: Form 30">
            <a:extLst>
              <a:ext uri="{FF2B5EF4-FFF2-40B4-BE49-F238E27FC236}">
                <a16:creationId xmlns:a16="http://schemas.microsoft.com/office/drawing/2014/main" id="{704E2425-CE41-407C-A36F-77A6C5EF153C}"/>
              </a:ext>
            </a:extLst>
          </p:cNvPr>
          <p:cNvSpPr/>
          <p:nvPr userDrawn="1"/>
        </p:nvSpPr>
        <p:spPr bwMode="gray">
          <a:xfrm>
            <a:off x="7503747" y="429"/>
            <a:ext cx="4690869" cy="2384841"/>
          </a:xfrm>
          <a:custGeom>
            <a:avLst/>
            <a:gdLst>
              <a:gd name="connsiteX0" fmla="*/ 0 w 4690869"/>
              <a:gd name="connsiteY0" fmla="*/ 0 h 2384841"/>
              <a:gd name="connsiteX1" fmla="*/ 4690869 w 4690869"/>
              <a:gd name="connsiteY1" fmla="*/ 0 h 2384841"/>
              <a:gd name="connsiteX2" fmla="*/ 4690869 w 4690869"/>
              <a:gd name="connsiteY2" fmla="*/ 2384841 h 2384841"/>
              <a:gd name="connsiteX3" fmla="*/ 2703916 w 4690869"/>
              <a:gd name="connsiteY3" fmla="*/ 2384841 h 2384841"/>
              <a:gd name="connsiteX4" fmla="*/ 31563 w 4690869"/>
              <a:gd name="connsiteY4" fmla="*/ 206811 h 23848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90869" h="2384841">
                <a:moveTo>
                  <a:pt x="0" y="0"/>
                </a:moveTo>
                <a:lnTo>
                  <a:pt x="4690869" y="0"/>
                </a:lnTo>
                <a:lnTo>
                  <a:pt x="4690869" y="2384841"/>
                </a:lnTo>
                <a:lnTo>
                  <a:pt x="2703916" y="2384841"/>
                </a:lnTo>
                <a:cubicBezTo>
                  <a:pt x="1385718" y="2384841"/>
                  <a:pt x="285916" y="1449814"/>
                  <a:pt x="31563" y="206811"/>
                </a:cubicBezTo>
                <a:close/>
              </a:path>
            </a:pathLst>
          </a:custGeom>
          <a:solidFill>
            <a:schemeClr val="bg1"/>
          </a:solidFill>
          <a:ln w="8023" cap="flat">
            <a:noFill/>
            <a:prstDash val="solid"/>
            <a:miter/>
          </a:ln>
        </p:spPr>
        <p:txBody>
          <a:bodyPr rtlCol="0" anchor="ctr"/>
          <a:lstStyle/>
          <a:p>
            <a:endParaRPr lang="de-DE" noProof="0"/>
          </a:p>
        </p:txBody>
      </p:sp>
      <p:sp>
        <p:nvSpPr>
          <p:cNvPr id="20" name="Freihandform: Form 19">
            <a:extLst>
              <a:ext uri="{FF2B5EF4-FFF2-40B4-BE49-F238E27FC236}">
                <a16:creationId xmlns:a16="http://schemas.microsoft.com/office/drawing/2014/main" id="{57425488-1B95-4A62-A350-70BB615C5FE1}"/>
              </a:ext>
            </a:extLst>
          </p:cNvPr>
          <p:cNvSpPr/>
          <p:nvPr userDrawn="1"/>
        </p:nvSpPr>
        <p:spPr bwMode="gray">
          <a:xfrm>
            <a:off x="0" y="2094958"/>
            <a:ext cx="6236882" cy="4763042"/>
          </a:xfrm>
          <a:custGeom>
            <a:avLst/>
            <a:gdLst>
              <a:gd name="connsiteX0" fmla="*/ 0 w 6236882"/>
              <a:gd name="connsiteY0" fmla="*/ 0 h 4763042"/>
              <a:gd name="connsiteX1" fmla="*/ 3271044 w 6236882"/>
              <a:gd name="connsiteY1" fmla="*/ 0 h 4763042"/>
              <a:gd name="connsiteX2" fmla="*/ 6236882 w 6236882"/>
              <a:gd name="connsiteY2" fmla="*/ 2965838 h 4763042"/>
              <a:gd name="connsiteX3" fmla="*/ 6236882 w 6236882"/>
              <a:gd name="connsiteY3" fmla="*/ 4763042 h 4763042"/>
              <a:gd name="connsiteX4" fmla="*/ 3271044 w 6236882"/>
              <a:gd name="connsiteY4" fmla="*/ 4763042 h 4763042"/>
              <a:gd name="connsiteX5" fmla="*/ 3271044 w 6236882"/>
              <a:gd name="connsiteY5" fmla="*/ 3264239 h 4763042"/>
              <a:gd name="connsiteX6" fmla="*/ 2974275 w 6236882"/>
              <a:gd name="connsiteY6" fmla="*/ 2967471 h 4763042"/>
              <a:gd name="connsiteX7" fmla="*/ 0 w 6236882"/>
              <a:gd name="connsiteY7" fmla="*/ 2967471 h 47630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236882" h="4763042">
                <a:moveTo>
                  <a:pt x="0" y="0"/>
                </a:moveTo>
                <a:lnTo>
                  <a:pt x="3271044" y="0"/>
                </a:lnTo>
                <a:cubicBezTo>
                  <a:pt x="4909037" y="0"/>
                  <a:pt x="6236882" y="1327845"/>
                  <a:pt x="6236882" y="2965838"/>
                </a:cubicBezTo>
                <a:lnTo>
                  <a:pt x="6236882" y="4763042"/>
                </a:lnTo>
                <a:lnTo>
                  <a:pt x="3271044" y="4763042"/>
                </a:lnTo>
                <a:lnTo>
                  <a:pt x="3271044" y="3264239"/>
                </a:lnTo>
                <a:cubicBezTo>
                  <a:pt x="3271044" y="3100340"/>
                  <a:pt x="3138177" y="2967471"/>
                  <a:pt x="2974275" y="2967471"/>
                </a:cubicBezTo>
                <a:lnTo>
                  <a:pt x="0" y="2967471"/>
                </a:lnTo>
                <a:close/>
              </a:path>
            </a:pathLst>
          </a:custGeom>
          <a:solidFill>
            <a:schemeClr val="bg1"/>
          </a:solidFill>
          <a:ln w="8023" cap="flat">
            <a:noFill/>
            <a:prstDash val="solid"/>
            <a:miter/>
          </a:ln>
        </p:spPr>
        <p:txBody>
          <a:bodyPr rtlCol="0" anchor="ctr"/>
          <a:lstStyle/>
          <a:p>
            <a:endParaRPr lang="de-DE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9248FAA-9EC8-4B5A-ABCF-6D6EEA0A3C1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479376" y="2988241"/>
            <a:ext cx="11233150" cy="584775"/>
          </a:xfrm>
        </p:spPr>
        <p:txBody>
          <a:bodyPr vert="horz" wrap="square" anchor="b" anchorCtr="0">
            <a:spAutoFit/>
          </a:bodyPr>
          <a:lstStyle>
            <a:lvl1pPr algn="l">
              <a:lnSpc>
                <a:spcPct val="100000"/>
              </a:lnSpc>
              <a:defRPr sz="38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Kapitelnamen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0A368C6A-8EA2-41AA-B98E-13E7784A8A7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79376" y="3645024"/>
            <a:ext cx="11233150" cy="584775"/>
          </a:xfrm>
        </p:spPr>
        <p:txBody>
          <a:bodyPr wrap="square">
            <a:spAutoFit/>
          </a:bodyPr>
          <a:lstStyle>
            <a:lvl1pPr marL="0" indent="0" algn="l">
              <a:lnSpc>
                <a:spcPct val="100000"/>
              </a:lnSpc>
              <a:buNone/>
              <a:tabLst>
                <a:tab pos="1706563" algn="l"/>
              </a:tabLst>
              <a:defRPr sz="380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buNone/>
              <a:tabLst>
                <a:tab pos="1706563" algn="l"/>
              </a:tabLst>
              <a:defRPr sz="16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buNone/>
              <a:tabLst>
                <a:tab pos="1706563" algn="l"/>
              </a:tabLst>
              <a:defRPr sz="16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tabLst/>
              <a:defRPr sz="16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/>
              <a:t>Untertitel bearbeiten (optional)</a:t>
            </a:r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74FAE199-86B4-4F75-B20A-6F6366B8CD84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425" y="6273316"/>
            <a:ext cx="11233150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fik 14">
            <a:extLst>
              <a:ext uri="{FF2B5EF4-FFF2-40B4-BE49-F238E27FC236}">
                <a16:creationId xmlns:a16="http://schemas.microsoft.com/office/drawing/2014/main" id="{740D2E33-13DE-4517-8584-83384C94FD5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gray">
          <a:xfrm>
            <a:off x="8940316" y="501157"/>
            <a:ext cx="2772258" cy="335456"/>
          </a:xfrm>
          <a:prstGeom prst="rect">
            <a:avLst/>
          </a:prstGeom>
        </p:spPr>
      </p:pic>
      <p:sp>
        <p:nvSpPr>
          <p:cNvPr id="18" name="Datumsplatzhalter 17">
            <a:extLst>
              <a:ext uri="{FF2B5EF4-FFF2-40B4-BE49-F238E27FC236}">
                <a16:creationId xmlns:a16="http://schemas.microsoft.com/office/drawing/2014/main" id="{A7918E5C-645F-4E42-B55D-C617EFEE6F44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de-DE" noProof="0"/>
              <a:t>17.07.2024</a:t>
            </a:r>
          </a:p>
        </p:txBody>
      </p:sp>
      <p:sp>
        <p:nvSpPr>
          <p:cNvPr id="19" name="Fußzeilenplatzhalter 18">
            <a:extLst>
              <a:ext uri="{FF2B5EF4-FFF2-40B4-BE49-F238E27FC236}">
                <a16:creationId xmlns:a16="http://schemas.microsoft.com/office/drawing/2014/main" id="{4587B3A4-5B24-43B8-966D-B09712B1C0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noProof="0"/>
              <a:t>Klassifizierung nicht vertraulich</a:t>
            </a:r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id="{5AE57BF6-A6CE-400D-8FB4-BAB5980B3A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645586CC-6D24-4895-9441-71B1281C15CA}" type="slidenum">
              <a:rPr lang="de-DE" noProof="0" smtClean="0"/>
              <a:pPr/>
              <a:t>‹Nr.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4494617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D7476DC-5F5A-4EEE-9846-7589835AD1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56393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D7476DC-5F5A-4EEE-9846-7589835AD1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5DE84E8-788D-4F05-AB36-0DCA92BB8F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de-DE" noProof="0"/>
              <a:t>Headline bearbeiten (maximal zweizeilig)</a:t>
            </a:r>
          </a:p>
        </p:txBody>
      </p:sp>
      <p:sp>
        <p:nvSpPr>
          <p:cNvPr id="6" name="Textplatzhalter 7">
            <a:extLst>
              <a:ext uri="{FF2B5EF4-FFF2-40B4-BE49-F238E27FC236}">
                <a16:creationId xmlns:a16="http://schemas.microsoft.com/office/drawing/2014/main" id="{F39F38BF-E2CC-4A28-B622-B5725CD524F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9424" y="446475"/>
            <a:ext cx="9324988" cy="246221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buNone/>
              <a:defRPr sz="1600"/>
            </a:lvl1pPr>
          </a:lstStyle>
          <a:p>
            <a:pPr lvl="0"/>
            <a:r>
              <a:rPr lang="de-DE" noProof="0"/>
              <a:t>Text bearbeiten</a:t>
            </a:r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id="{D2126821-17F4-4BF6-91A4-56E245C1A38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79424" y="1628800"/>
            <a:ext cx="11233150" cy="246221"/>
          </a:xfrm>
        </p:spPr>
        <p:txBody>
          <a:bodyPr anchor="t" anchorCtr="0">
            <a:sp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accent3"/>
                </a:solidFill>
              </a:defRPr>
            </a:lvl1pPr>
            <a:lvl2pPr marL="0" indent="0">
              <a:lnSpc>
                <a:spcPct val="100000"/>
              </a:lnSpc>
              <a:buNone/>
              <a:defRPr sz="1600">
                <a:solidFill>
                  <a:schemeClr val="accent3"/>
                </a:solidFill>
              </a:defRPr>
            </a:lvl2pPr>
            <a:lvl3pPr marL="0" indent="0">
              <a:lnSpc>
                <a:spcPct val="100000"/>
              </a:lnSpc>
              <a:buNone/>
              <a:defRPr sz="1600">
                <a:solidFill>
                  <a:schemeClr val="accent3"/>
                </a:solidFill>
              </a:defRPr>
            </a:lvl3pPr>
            <a:lvl4pPr marL="0" indent="0">
              <a:lnSpc>
                <a:spcPct val="100000"/>
              </a:lnSpc>
              <a:buNone/>
              <a:defRPr sz="1600">
                <a:solidFill>
                  <a:schemeClr val="accent3"/>
                </a:solidFill>
              </a:defRPr>
            </a:lvl4pPr>
            <a:lvl5pPr marL="0" indent="0">
              <a:lnSpc>
                <a:spcPct val="100000"/>
              </a:lnSpc>
              <a:buNone/>
              <a:defRPr sz="1600">
                <a:solidFill>
                  <a:schemeClr val="accent3"/>
                </a:solidFill>
              </a:defRPr>
            </a:lvl5pPr>
            <a:lvl6pPr marL="0" indent="0">
              <a:lnSpc>
                <a:spcPct val="100000"/>
              </a:lnSpc>
              <a:buNone/>
              <a:defRPr sz="1600">
                <a:solidFill>
                  <a:schemeClr val="accent3"/>
                </a:solidFill>
              </a:defRPr>
            </a:lvl6pPr>
            <a:lvl7pPr marL="0" indent="0">
              <a:lnSpc>
                <a:spcPct val="100000"/>
              </a:lnSpc>
              <a:buNone/>
              <a:defRPr sz="1600">
                <a:solidFill>
                  <a:schemeClr val="accent3"/>
                </a:solidFill>
              </a:defRPr>
            </a:lvl7pPr>
            <a:lvl8pPr marL="0" indent="0">
              <a:lnSpc>
                <a:spcPct val="100000"/>
              </a:lnSpc>
              <a:buNone/>
              <a:defRPr sz="1600">
                <a:solidFill>
                  <a:schemeClr val="accent3"/>
                </a:solidFill>
              </a:defRPr>
            </a:lvl8pPr>
            <a:lvl9pPr marL="0" indent="0">
              <a:lnSpc>
                <a:spcPct val="100000"/>
              </a:lnSpc>
              <a:buNone/>
              <a:defRPr sz="1600">
                <a:solidFill>
                  <a:schemeClr val="accent3"/>
                </a:solidFill>
              </a:defRPr>
            </a:lvl9pPr>
          </a:lstStyle>
          <a:p>
            <a:pPr lvl="0"/>
            <a:r>
              <a:rPr lang="de-DE" noProof="0"/>
              <a:t>Subheadline bearbeiten (optional)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D3014AEA-B965-4AEB-BBBE-13751AC070AA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de-DE" noProof="0"/>
              <a:t>17.07.2024</a:t>
            </a:r>
          </a:p>
        </p:txBody>
      </p:sp>
      <p:sp>
        <p:nvSpPr>
          <p:cNvPr id="12" name="Fußzeilenplatzhalter 11">
            <a:extLst>
              <a:ext uri="{FF2B5EF4-FFF2-40B4-BE49-F238E27FC236}">
                <a16:creationId xmlns:a16="http://schemas.microsoft.com/office/drawing/2014/main" id="{4134E8C3-F529-473F-A5E5-79F714302E9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de-DE" noProof="0"/>
              <a:t>Klassifizierung nicht vertraulich</a:t>
            </a: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AAE85A36-A48D-4C63-AB2D-9D6063CA1D8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645586CC-6D24-4895-9441-71B1281C15CA}" type="slidenum">
              <a:rPr lang="de-DE" noProof="0" smtClean="0"/>
              <a:pPr/>
              <a:t>‹Nr.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13671695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A87008D-5491-4ADE-A0E2-E3AB297091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65087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3A87008D-5491-4ADE-A0E2-E3AB297091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D3D8656-F569-4639-BF37-3D2DB00329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425" y="1088740"/>
            <a:ext cx="11233150" cy="415498"/>
          </a:xfrm>
        </p:spPr>
        <p:txBody>
          <a:bodyPr vert="horz"/>
          <a:lstStyle/>
          <a:p>
            <a:r>
              <a:rPr lang="de-DE" noProof="0"/>
              <a:t>Headline bearbeiten (maximal zweizeilig)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4CBB740-2A28-4019-BA6C-1C00B217AE26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479376" y="2348880"/>
            <a:ext cx="9324000" cy="3564000"/>
          </a:xfrm>
        </p:spPr>
        <p:txBody>
          <a:bodyPr/>
          <a:lstStyle>
            <a:lvl1pPr>
              <a:buClr>
                <a:schemeClr val="accent3"/>
              </a:buClr>
              <a:defRPr/>
            </a:lvl1pPr>
            <a:lvl2pPr>
              <a:buClr>
                <a:schemeClr val="accent3"/>
              </a:buClr>
              <a:defRPr/>
            </a:lvl2pPr>
            <a:lvl3pPr>
              <a:buClr>
                <a:schemeClr val="accent3"/>
              </a:buClr>
              <a:defRPr/>
            </a:lvl3pPr>
            <a:lvl4pPr>
              <a:buClr>
                <a:schemeClr val="accent3"/>
              </a:buClr>
              <a:defRPr/>
            </a:lvl4pPr>
            <a:lvl5pPr>
              <a:buClr>
                <a:schemeClr val="accent3"/>
              </a:buClr>
              <a:defRPr/>
            </a:lvl5pPr>
          </a:lstStyle>
          <a:p>
            <a:pPr lvl="0"/>
            <a:r>
              <a:rPr lang="de-DE" noProof="0"/>
              <a:t>Tex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5619E56B-1A46-49B8-8CAE-5577B26052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9424" y="446475"/>
            <a:ext cx="9324988" cy="246221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buNone/>
              <a:defRPr sz="1600"/>
            </a:lvl1pPr>
          </a:lstStyle>
          <a:p>
            <a:pPr lvl="0"/>
            <a:r>
              <a:rPr lang="de-DE" noProof="0"/>
              <a:t>Text bearbeiten</a:t>
            </a:r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id="{2A2A30A9-66BF-4866-B256-36BF40C2C95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79424" y="1628800"/>
            <a:ext cx="11233150" cy="246221"/>
          </a:xfrm>
        </p:spPr>
        <p:txBody>
          <a:bodyPr anchor="t" anchorCtr="0">
            <a:sp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accent3"/>
                </a:solidFill>
              </a:defRPr>
            </a:lvl1pPr>
            <a:lvl2pPr marL="0" indent="0">
              <a:lnSpc>
                <a:spcPct val="100000"/>
              </a:lnSpc>
              <a:buNone/>
              <a:defRPr sz="1600">
                <a:solidFill>
                  <a:schemeClr val="accent3"/>
                </a:solidFill>
              </a:defRPr>
            </a:lvl2pPr>
            <a:lvl3pPr marL="0" indent="0">
              <a:lnSpc>
                <a:spcPct val="100000"/>
              </a:lnSpc>
              <a:buNone/>
              <a:defRPr sz="1600">
                <a:solidFill>
                  <a:schemeClr val="accent3"/>
                </a:solidFill>
              </a:defRPr>
            </a:lvl3pPr>
            <a:lvl4pPr marL="0" indent="0">
              <a:lnSpc>
                <a:spcPct val="100000"/>
              </a:lnSpc>
              <a:buNone/>
              <a:defRPr sz="1600">
                <a:solidFill>
                  <a:schemeClr val="accent3"/>
                </a:solidFill>
              </a:defRPr>
            </a:lvl4pPr>
            <a:lvl5pPr marL="0" indent="0">
              <a:lnSpc>
                <a:spcPct val="100000"/>
              </a:lnSpc>
              <a:buNone/>
              <a:defRPr sz="1600">
                <a:solidFill>
                  <a:schemeClr val="accent3"/>
                </a:solidFill>
              </a:defRPr>
            </a:lvl5pPr>
            <a:lvl6pPr marL="0" indent="0">
              <a:lnSpc>
                <a:spcPct val="100000"/>
              </a:lnSpc>
              <a:buNone/>
              <a:defRPr sz="1600">
                <a:solidFill>
                  <a:schemeClr val="accent3"/>
                </a:solidFill>
              </a:defRPr>
            </a:lvl6pPr>
            <a:lvl7pPr marL="0" indent="0">
              <a:lnSpc>
                <a:spcPct val="100000"/>
              </a:lnSpc>
              <a:buNone/>
              <a:defRPr sz="1600">
                <a:solidFill>
                  <a:schemeClr val="accent3"/>
                </a:solidFill>
              </a:defRPr>
            </a:lvl7pPr>
            <a:lvl8pPr marL="0" indent="0">
              <a:lnSpc>
                <a:spcPct val="100000"/>
              </a:lnSpc>
              <a:buNone/>
              <a:defRPr sz="1600">
                <a:solidFill>
                  <a:schemeClr val="accent3"/>
                </a:solidFill>
              </a:defRPr>
            </a:lvl8pPr>
            <a:lvl9pPr marL="0" indent="0">
              <a:lnSpc>
                <a:spcPct val="100000"/>
              </a:lnSpc>
              <a:buNone/>
              <a:defRPr sz="1600">
                <a:solidFill>
                  <a:schemeClr val="accent3"/>
                </a:solidFill>
              </a:defRPr>
            </a:lvl9pPr>
          </a:lstStyle>
          <a:p>
            <a:pPr lvl="0"/>
            <a:r>
              <a:rPr lang="de-DE" noProof="0"/>
              <a:t>Subheadline bearbeiten (optional)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9655676C-5881-4050-8ACC-9E648CF623C0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de-DE" noProof="0"/>
              <a:t>17.07.2024</a:t>
            </a:r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08EDE0A7-C2A0-4C13-A352-1033BCDE438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de-DE" noProof="0"/>
              <a:t>Klassifizierung nicht vertraulich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83869D49-2C7B-47E0-8052-45E08F8A0D8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645586CC-6D24-4895-9441-71B1281C15CA}" type="slidenum">
              <a:rPr lang="de-DE" noProof="0" smtClean="0"/>
              <a:pPr/>
              <a:t>‹Nr.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42040162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3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E2FC28B-0F52-46CD-8BC8-823E824C58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2987708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8" imgW="306" imgH="306" progId="TCLayout.ActiveDocument.1">
                  <p:embed/>
                </p:oleObj>
              </mc:Choice>
              <mc:Fallback>
                <p:oleObj name="think-cell Folie" r:id="rId28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E2FC28B-0F52-46CD-8BC8-823E824C58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41427414-2FD7-4A2B-B777-4112F93A6EC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1088740"/>
            <a:ext cx="11233150" cy="4154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de-DE" noProof="0"/>
              <a:t>Headline bearbeiten (maximal zweizeilig)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ACAF780-1AE5-4622-9F42-D1F64E5FB520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79376" y="2348880"/>
            <a:ext cx="11233150" cy="35645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Tex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9F061E3-4F9E-4567-A477-9E5386927FB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352624" y="6357712"/>
            <a:ext cx="360000" cy="138499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645586CC-6D24-4895-9441-71B1281C15CA}" type="slidenum">
              <a:rPr lang="de-DE" noProof="0" smtClean="0"/>
              <a:pPr/>
              <a:t>‹Nr.›</a:t>
            </a:fld>
            <a:endParaRPr lang="de-DE" noProof="0"/>
          </a:p>
        </p:txBody>
      </p: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9DFED5C6-B9CF-4111-A861-6E80916406F7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425" y="836613"/>
            <a:ext cx="9324987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612C7B1E-D01D-431D-A2F6-85F9187A5EC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425" y="6273316"/>
            <a:ext cx="11233150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Grafik 9">
            <a:extLst>
              <a:ext uri="{FF2B5EF4-FFF2-40B4-BE49-F238E27FC236}">
                <a16:creationId xmlns:a16="http://schemas.microsoft.com/office/drawing/2014/main" id="{F90B2E4F-922F-419F-B14A-FC9C76CC5FE9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 bwMode="gray">
          <a:xfrm>
            <a:off x="10151269" y="647688"/>
            <a:ext cx="1561305" cy="188925"/>
          </a:xfrm>
          <a:prstGeom prst="rect">
            <a:avLst/>
          </a:prstGeom>
        </p:spPr>
      </p:pic>
      <p:sp>
        <p:nvSpPr>
          <p:cNvPr id="16" name="Fußzeilenplatzhalter 4">
            <a:extLst>
              <a:ext uri="{FF2B5EF4-FFF2-40B4-BE49-F238E27FC236}">
                <a16:creationId xmlns:a16="http://schemas.microsoft.com/office/drawing/2014/main" id="{A54A5D5A-82B0-2147-A9B0-F00611C2E2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343471" y="6357712"/>
            <a:ext cx="8640000" cy="138499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Klassifizierung nicht vertraulich</a:t>
            </a:r>
          </a:p>
        </p:txBody>
      </p:sp>
      <p:sp>
        <p:nvSpPr>
          <p:cNvPr id="17" name="Datumsplatzhalter 3">
            <a:extLst>
              <a:ext uri="{FF2B5EF4-FFF2-40B4-BE49-F238E27FC236}">
                <a16:creationId xmlns:a16="http://schemas.microsoft.com/office/drawing/2014/main" id="{A79939E4-CE19-6341-9AFA-1B2251F5D902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75904" y="6357711"/>
            <a:ext cx="720000" cy="138499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17.07.2024</a:t>
            </a:r>
          </a:p>
        </p:txBody>
      </p:sp>
    </p:spTree>
    <p:extLst>
      <p:ext uri="{BB962C8B-B14F-4D97-AF65-F5344CB8AC3E}">
        <p14:creationId xmlns:p14="http://schemas.microsoft.com/office/powerpoint/2010/main" val="25290100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7" r:id="rId2"/>
    <p:sldLayoutId id="2147483658" r:id="rId3"/>
    <p:sldLayoutId id="2147483659" r:id="rId4"/>
    <p:sldLayoutId id="2147483660" r:id="rId5"/>
    <p:sldLayoutId id="2147483674" r:id="rId6"/>
    <p:sldLayoutId id="2147483661" r:id="rId7"/>
    <p:sldLayoutId id="2147483654" r:id="rId8"/>
    <p:sldLayoutId id="2147483650" r:id="rId9"/>
    <p:sldLayoutId id="2147483675" r:id="rId10"/>
    <p:sldLayoutId id="2147483656" r:id="rId11"/>
    <p:sldLayoutId id="2147483652" r:id="rId12"/>
    <p:sldLayoutId id="2147483662" r:id="rId13"/>
    <p:sldLayoutId id="2147483663" r:id="rId14"/>
    <p:sldLayoutId id="2147483664" r:id="rId15"/>
    <p:sldLayoutId id="2147483665" r:id="rId16"/>
    <p:sldLayoutId id="2147483666" r:id="rId17"/>
    <p:sldLayoutId id="2147483667" r:id="rId18"/>
    <p:sldLayoutId id="2147483668" r:id="rId19"/>
    <p:sldLayoutId id="2147483669" r:id="rId20"/>
    <p:sldLayoutId id="2147483655" r:id="rId21"/>
    <p:sldLayoutId id="2147483670" r:id="rId22"/>
    <p:sldLayoutId id="2147483672" r:id="rId23"/>
    <p:sldLayoutId id="2147483671" r:id="rId24"/>
    <p:sldLayoutId id="2147483673" r:id="rId25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7000"/>
        </a:lnSpc>
        <a:spcBef>
          <a:spcPts val="0"/>
        </a:spcBef>
        <a:buClr>
          <a:schemeClr val="accent3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179388" indent="-179388" algn="l" defTabSz="914400" rtl="0" eaLnBrk="1" latinLnBrk="0" hangingPunct="1">
        <a:lnSpc>
          <a:spcPct val="107000"/>
        </a:lnSpc>
        <a:spcBef>
          <a:spcPts val="0"/>
        </a:spcBef>
        <a:buClr>
          <a:schemeClr val="accent3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414000" indent="-180000" algn="l" defTabSz="914400" rtl="0" eaLnBrk="1" latinLnBrk="0" hangingPunct="1">
        <a:lnSpc>
          <a:spcPct val="107000"/>
        </a:lnSpc>
        <a:spcBef>
          <a:spcPts val="0"/>
        </a:spcBef>
        <a:buClr>
          <a:schemeClr val="accent3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648000" indent="-180000" algn="l" defTabSz="914400" rtl="0" eaLnBrk="1" latinLnBrk="0" hangingPunct="1">
        <a:lnSpc>
          <a:spcPct val="107000"/>
        </a:lnSpc>
        <a:spcBef>
          <a:spcPts val="0"/>
        </a:spcBef>
        <a:buClr>
          <a:schemeClr val="accent3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82000" indent="-180000" algn="l" defTabSz="914400" rtl="0" eaLnBrk="1" latinLnBrk="0" hangingPunct="1">
        <a:lnSpc>
          <a:spcPct val="107000"/>
        </a:lnSpc>
        <a:spcBef>
          <a:spcPts val="0"/>
        </a:spcBef>
        <a:buClr>
          <a:schemeClr val="accent3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882000" indent="-180000" algn="l" defTabSz="914400" rtl="0" eaLnBrk="1" latinLnBrk="0" hangingPunct="1">
        <a:lnSpc>
          <a:spcPct val="107000"/>
        </a:lnSpc>
        <a:spcBef>
          <a:spcPts val="0"/>
        </a:spcBef>
        <a:buClr>
          <a:schemeClr val="accent3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882000" indent="-180000" algn="l" defTabSz="914400" rtl="0" eaLnBrk="1" latinLnBrk="0" hangingPunct="1">
        <a:lnSpc>
          <a:spcPct val="107000"/>
        </a:lnSpc>
        <a:spcBef>
          <a:spcPts val="0"/>
        </a:spcBef>
        <a:buClr>
          <a:schemeClr val="accent3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882000" indent="-180000" algn="l" defTabSz="914400" rtl="0" eaLnBrk="1" latinLnBrk="0" hangingPunct="1">
        <a:lnSpc>
          <a:spcPct val="107000"/>
        </a:lnSpc>
        <a:spcBef>
          <a:spcPts val="0"/>
        </a:spcBef>
        <a:buClr>
          <a:schemeClr val="accent3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882000" indent="-180000" algn="l" defTabSz="914400" rtl="0" eaLnBrk="1" latinLnBrk="0" hangingPunct="1">
        <a:lnSpc>
          <a:spcPct val="107000"/>
        </a:lnSpc>
        <a:spcBef>
          <a:spcPts val="0"/>
        </a:spcBef>
        <a:buClr>
          <a:schemeClr val="accent3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25" userDrawn="1">
          <p15:clr>
            <a:srgbClr val="F26B43"/>
          </p15:clr>
        </p15:guide>
        <p15:guide id="3" pos="302" userDrawn="1">
          <p15:clr>
            <a:srgbClr val="F26B43"/>
          </p15:clr>
        </p15:guide>
        <p15:guide id="4" pos="7378" userDrawn="1">
          <p15:clr>
            <a:srgbClr val="F26B43"/>
          </p15:clr>
        </p15:guide>
        <p15:guide id="5" orient="horz" pos="1480" userDrawn="1">
          <p15:clr>
            <a:srgbClr val="F26B43"/>
          </p15:clr>
        </p15:guide>
        <p15:guide id="9" pos="3795" userDrawn="1">
          <p15:clr>
            <a:srgbClr val="F26B43"/>
          </p15:clr>
        </p15:guide>
        <p15:guide id="10" pos="388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2.xml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33.xml"/><Relationship Id="rId5" Type="http://schemas.openxmlformats.org/officeDocument/2006/relationships/image" Target="../media/image25.png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oleObject" Target="../embeddings/oleObject25.bin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26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8.svg"/><Relationship Id="rId12" Type="http://schemas.openxmlformats.org/officeDocument/2006/relationships/image" Target="../media/image23.pn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28.xml"/><Relationship Id="rId6" Type="http://schemas.openxmlformats.org/officeDocument/2006/relationships/image" Target="../media/image17.png"/><Relationship Id="rId11" Type="http://schemas.openxmlformats.org/officeDocument/2006/relationships/image" Target="../media/image22.png"/><Relationship Id="rId5" Type="http://schemas.openxmlformats.org/officeDocument/2006/relationships/image" Target="../media/image1.emf"/><Relationship Id="rId10" Type="http://schemas.openxmlformats.org/officeDocument/2006/relationships/image" Target="../media/image21.png"/><Relationship Id="rId4" Type="http://schemas.openxmlformats.org/officeDocument/2006/relationships/oleObject" Target="../embeddings/oleObject26.bin"/><Relationship Id="rId9" Type="http://schemas.openxmlformats.org/officeDocument/2006/relationships/image" Target="../media/image2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30.xml"/><Relationship Id="rId5" Type="http://schemas.openxmlformats.org/officeDocument/2006/relationships/image" Target="../media/image24.png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23C337ED-407D-44C9-9197-5F097AAF703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05947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23C337ED-407D-44C9-9197-5F097AAF70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D419D4EB-00FE-4435-9950-69E821B143A9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875469" y="2276872"/>
            <a:ext cx="10837106" cy="1754326"/>
          </a:xfrm>
        </p:spPr>
        <p:txBody>
          <a:bodyPr vert="horz"/>
          <a:lstStyle/>
          <a:p>
            <a:r>
              <a:rPr lang="de-DE"/>
              <a:t>Frontend mit Angular: Entwicklungsprozess vom Design zur Websit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25EB2FD-0CAD-44F0-A364-0E34A7D7EC5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2207568" y="5589240"/>
            <a:ext cx="3816000" cy="738664"/>
          </a:xfrm>
        </p:spPr>
        <p:txBody>
          <a:bodyPr/>
          <a:lstStyle/>
          <a:p>
            <a:r>
              <a:rPr lang="de-DE"/>
              <a:t>17.07.2024</a:t>
            </a:r>
          </a:p>
          <a:p>
            <a:r>
              <a:rPr lang="de-DE"/>
              <a:t>Berlin</a:t>
            </a:r>
          </a:p>
          <a:p>
            <a:r>
              <a:rPr lang="de-DE"/>
              <a:t>Theo Leuthardt</a:t>
            </a:r>
          </a:p>
        </p:txBody>
      </p:sp>
    </p:spTree>
    <p:extLst>
      <p:ext uri="{BB962C8B-B14F-4D97-AF65-F5344CB8AC3E}">
        <p14:creationId xmlns:p14="http://schemas.microsoft.com/office/powerpoint/2010/main" val="128287412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0444A37-2AB6-4AAB-8226-AFAC31747F2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0444A37-2AB6-4AAB-8226-AFAC31747F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5151E6-97E0-4BE7-ACCA-C5EDC9DBE831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79376" y="2988241"/>
            <a:ext cx="11233150" cy="584775"/>
          </a:xfrm>
        </p:spPr>
        <p:txBody>
          <a:bodyPr vert="horz"/>
          <a:lstStyle/>
          <a:p>
            <a:r>
              <a:rPr lang="de-DE"/>
              <a:t>5. Fazit &amp; Ausblick</a:t>
            </a:r>
          </a:p>
        </p:txBody>
      </p:sp>
      <p:sp>
        <p:nvSpPr>
          <p:cNvPr id="17" name="Datumsplatzhalter 16">
            <a:extLst>
              <a:ext uri="{FF2B5EF4-FFF2-40B4-BE49-F238E27FC236}">
                <a16:creationId xmlns:a16="http://schemas.microsoft.com/office/drawing/2014/main" id="{62978F16-156E-475B-93F3-EC654249A98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75904" y="6357711"/>
            <a:ext cx="720000" cy="138499"/>
          </a:xfrm>
        </p:spPr>
        <p:txBody>
          <a:bodyPr/>
          <a:lstStyle/>
          <a:p>
            <a:r>
              <a:rPr lang="de-DE" noProof="0"/>
              <a:t>17.07.2024</a:t>
            </a:r>
          </a:p>
        </p:txBody>
      </p:sp>
      <p:sp>
        <p:nvSpPr>
          <p:cNvPr id="18" name="Fußzeilenplatzhalter 17">
            <a:extLst>
              <a:ext uri="{FF2B5EF4-FFF2-40B4-BE49-F238E27FC236}">
                <a16:creationId xmlns:a16="http://schemas.microsoft.com/office/drawing/2014/main" id="{E377CD37-73BF-4BD4-B561-0511C3D50D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471" y="6357712"/>
            <a:ext cx="8640000" cy="138499"/>
          </a:xfrm>
        </p:spPr>
        <p:txBody>
          <a:bodyPr/>
          <a:lstStyle/>
          <a:p>
            <a:r>
              <a:rPr lang="de-DE" noProof="0"/>
              <a:t>Klassifizierung nicht vertraulich</a:t>
            </a:r>
          </a:p>
        </p:txBody>
      </p:sp>
      <p:sp>
        <p:nvSpPr>
          <p:cNvPr id="19" name="Foliennummernplatzhalter 18">
            <a:extLst>
              <a:ext uri="{FF2B5EF4-FFF2-40B4-BE49-F238E27FC236}">
                <a16:creationId xmlns:a16="http://schemas.microsoft.com/office/drawing/2014/main" id="{51FB477E-CF28-4B6C-A819-07BA4BA92B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2624" y="6357712"/>
            <a:ext cx="360000" cy="138499"/>
          </a:xfrm>
        </p:spPr>
        <p:txBody>
          <a:bodyPr/>
          <a:lstStyle/>
          <a:p>
            <a:fld id="{645586CC-6D24-4895-9441-71B1281C15CA}" type="slidenum">
              <a:rPr lang="de-DE" noProof="0" smtClean="0"/>
              <a:pPr/>
              <a:t>10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18477210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DBA0CDE-1E5F-49B4-909D-7020AB7C14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6DBA0CDE-1E5F-49B4-909D-7020AB7C14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27CC909-7103-480C-9257-B1E7EBFE3E07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1088740"/>
            <a:ext cx="11233150" cy="415498"/>
          </a:xfrm>
        </p:spPr>
        <p:txBody>
          <a:bodyPr vert="horz"/>
          <a:lstStyle/>
          <a:p>
            <a:r>
              <a:rPr lang="de-DE"/>
              <a:t>5. Fazit &amp; Ausblick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2972672B-0DC7-4E21-AED7-23F9F9AA8194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479376" y="2348880"/>
            <a:ext cx="7923306" cy="3564000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de-DE" b="1">
                <a:ea typeface="Verdana"/>
              </a:rPr>
              <a:t>Problemlösung:</a:t>
            </a:r>
            <a:r>
              <a:rPr lang="de-DE">
                <a:ea typeface="Verdana"/>
              </a:rPr>
              <a:t> </a:t>
            </a:r>
          </a:p>
          <a:p>
            <a:pPr marL="342900" indent="-342900">
              <a:buFont typeface="+mj-lt"/>
              <a:buAutoNum type="arabicPeriod"/>
            </a:pPr>
            <a:r>
              <a:rPr lang="de-DE">
                <a:ea typeface="Verdana"/>
              </a:rPr>
              <a:t>Design</a:t>
            </a:r>
          </a:p>
          <a:p>
            <a:pPr marL="342900" indent="-342900">
              <a:buFont typeface="+mj-lt"/>
              <a:buAutoNum type="arabicPeriod"/>
            </a:pPr>
            <a:r>
              <a:rPr lang="de-DE">
                <a:ea typeface="Verdana"/>
              </a:rPr>
              <a:t>Implementierung</a:t>
            </a:r>
          </a:p>
          <a:p>
            <a:pPr marL="342900" indent="-342900">
              <a:buFont typeface="+mj-lt"/>
              <a:buAutoNum type="arabicPeriod"/>
            </a:pPr>
            <a:r>
              <a:rPr lang="de-DE">
                <a:ea typeface="Verdana"/>
              </a:rPr>
              <a:t>Entwicklungsprozess eingehalten</a:t>
            </a:r>
          </a:p>
          <a:p>
            <a:pPr marL="342900" indent="-342900">
              <a:buFont typeface="+mj-lt"/>
              <a:buAutoNum type="arabicPeriod"/>
            </a:pPr>
            <a:endParaRPr lang="de-DE">
              <a:ea typeface="Verdana"/>
            </a:endParaRPr>
          </a:p>
          <a:p>
            <a:r>
              <a:rPr lang="de-DE" b="1">
                <a:ea typeface="Verdana"/>
              </a:rPr>
              <a:t>Aktueller Projektstatus:</a:t>
            </a:r>
            <a:r>
              <a:rPr lang="de-DE">
                <a:ea typeface="Verdana"/>
              </a:rPr>
              <a:t> Prototyp, kein Zeitdruck</a:t>
            </a:r>
          </a:p>
          <a:p>
            <a:endParaRPr lang="de-DE">
              <a:ea typeface="Verdana"/>
            </a:endParaRPr>
          </a:p>
          <a:p>
            <a:r>
              <a:rPr lang="de-DE" b="1">
                <a:ea typeface="Verdana"/>
              </a:rPr>
              <a:t>Ausblick:</a:t>
            </a:r>
          </a:p>
          <a:p>
            <a:pPr marL="464820" lvl="1" indent="-285750">
              <a:buFont typeface="Courier New" panose="020B0604020202020204" pitchFamily="34" charset="0"/>
              <a:buChar char="o"/>
            </a:pPr>
            <a:r>
              <a:rPr lang="de-DE">
                <a:ea typeface="Verdana"/>
              </a:rPr>
              <a:t>Navbar: Solide Basis für die Website</a:t>
            </a:r>
          </a:p>
          <a:p>
            <a:pPr marL="464820" lvl="1" indent="-285750">
              <a:buFont typeface="Courier New" panose="020B0604020202020204" pitchFamily="34" charset="0"/>
              <a:buChar char="o"/>
            </a:pPr>
            <a:r>
              <a:rPr lang="de-DE">
                <a:ea typeface="Verdana"/>
              </a:rPr>
              <a:t>Implementierung der Suche (Backend)</a:t>
            </a:r>
          </a:p>
          <a:p>
            <a:pPr marL="464820" lvl="1" indent="-285750">
              <a:buFont typeface="Courier New" panose="020B0604020202020204" pitchFamily="34" charset="0"/>
              <a:buChar char="o"/>
            </a:pPr>
            <a:r>
              <a:rPr lang="de-DE">
                <a:ea typeface="Verdana"/>
              </a:rPr>
              <a:t>Arbeitsgänge mit Ablaufdiagrammen (Frontend)</a:t>
            </a:r>
          </a:p>
          <a:p>
            <a:endParaRPr lang="de-DE">
              <a:ea typeface="Verdana"/>
            </a:endParaRPr>
          </a:p>
          <a:p>
            <a:endParaRPr lang="de-DE">
              <a:ea typeface="Verdana"/>
            </a:endParaRPr>
          </a:p>
          <a:p>
            <a:endParaRPr lang="de-DE">
              <a:ea typeface="Verdana"/>
            </a:endParaRPr>
          </a:p>
          <a:p>
            <a:endParaRPr lang="de-DE">
              <a:ea typeface="Verdana"/>
            </a:endParaRPr>
          </a:p>
          <a:p>
            <a:endParaRPr lang="de-DE">
              <a:ea typeface="Verdana"/>
            </a:endParaRPr>
          </a:p>
          <a:p>
            <a:endParaRPr lang="de-DE">
              <a:ea typeface="Verdana"/>
            </a:endParaRPr>
          </a:p>
          <a:p>
            <a:pPr marL="285750" indent="-285750">
              <a:buFont typeface="Calibri" panose="020B0604020202020204" pitchFamily="34" charset="0"/>
              <a:buChar char="-"/>
            </a:pPr>
            <a:endParaRPr lang="de-DE">
              <a:ea typeface="Verdana"/>
            </a:endParaRPr>
          </a:p>
          <a:p>
            <a:pPr marL="285750" indent="-285750">
              <a:buFont typeface="Calibri" panose="020B0604020202020204" pitchFamily="34" charset="0"/>
              <a:buChar char="-"/>
            </a:pPr>
            <a:endParaRPr lang="de-DE">
              <a:ea typeface="Verdana"/>
            </a:endParaRPr>
          </a:p>
          <a:p>
            <a:endParaRPr lang="de-DE">
              <a:ea typeface="Verdana"/>
            </a:endParaRP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6FE27A1-1DC4-49A0-9EBF-4021866DD01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79424" y="446475"/>
            <a:ext cx="9324988" cy="246221"/>
          </a:xfrm>
        </p:spPr>
        <p:txBody>
          <a:bodyPr/>
          <a:lstStyle/>
          <a:p>
            <a:r>
              <a:rPr lang="de-DE"/>
              <a:t>Frontend mit Angular: Entwicklungsprozess vom Design zur Website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4B6A3F13-1E5E-40D0-B011-C9246813962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de-DE" noProof="0"/>
              <a:t>17.07.2024</a:t>
            </a:r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D8D8C577-6C4C-44CD-9D6F-E6479F0B05B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noProof="0"/>
              <a:t>Klassifizierung nicht vertraulich</a:t>
            </a: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866F31BE-AA15-44EF-AE80-F93764D8730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45586CC-6D24-4895-9441-71B1281C15CA}" type="slidenum">
              <a:rPr lang="de-DE" noProof="0" smtClean="0"/>
              <a:pPr/>
              <a:t>11</a:t>
            </a:fld>
            <a:endParaRPr lang="de-DE" noProof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8370EC25-D8C8-65CB-FF7E-6CB6ECC8487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00056" y="945120"/>
            <a:ext cx="3672408" cy="5311780"/>
          </a:xfrm>
          <a:prstGeom prst="rect">
            <a:avLst/>
          </a:prstGeom>
        </p:spPr>
      </p:pic>
      <p:sp>
        <p:nvSpPr>
          <p:cNvPr id="16" name="Textfeld 15">
            <a:extLst>
              <a:ext uri="{FF2B5EF4-FFF2-40B4-BE49-F238E27FC236}">
                <a16:creationId xmlns:a16="http://schemas.microsoft.com/office/drawing/2014/main" id="{F7F57434-21C3-78AB-9837-CBCE140F5848}"/>
              </a:ext>
            </a:extLst>
          </p:cNvPr>
          <p:cNvSpPr txBox="1"/>
          <p:nvPr/>
        </p:nvSpPr>
        <p:spPr>
          <a:xfrm>
            <a:off x="8402682" y="5769260"/>
            <a:ext cx="1512168" cy="28328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107000"/>
              </a:lnSpc>
              <a:buClr>
                <a:schemeClr val="accent3"/>
              </a:buClr>
            </a:pPr>
            <a:r>
              <a:rPr lang="de-DE" sz="900">
                <a:ea typeface="Verdana"/>
              </a:rPr>
              <a:t>Abb.8: Ablaufdiagramm als neue Komponent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1685607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6FFE723-E8B3-47C5-AF72-2C100018C3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9424" y="2060848"/>
            <a:ext cx="7560000" cy="584775"/>
          </a:xfrm>
        </p:spPr>
        <p:txBody>
          <a:bodyPr/>
          <a:lstStyle/>
          <a:p>
            <a:r>
              <a:rPr lang="de-DE"/>
              <a:t>Vielen Dank.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0CFF9BD-435B-4F64-B2BE-9C46CD400BE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79425" y="3567758"/>
            <a:ext cx="7560000" cy="215444"/>
          </a:xfrm>
        </p:spPr>
        <p:txBody>
          <a:bodyPr/>
          <a:lstStyle/>
          <a:p>
            <a:r>
              <a:rPr lang="de-DE"/>
              <a:t>Theo Leuthardt</a:t>
            </a:r>
            <a:endParaRPr lang="de-DE">
              <a:ea typeface="Verdana"/>
            </a:endParaRP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B81B746-A5FC-4DE4-96AE-95BB911688A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5" y="4041068"/>
            <a:ext cx="7560000" cy="861774"/>
          </a:xfrm>
        </p:spPr>
        <p:txBody>
          <a:bodyPr vert="horz" lIns="0" tIns="0" rIns="0" bIns="0" rtlCol="0" anchor="t">
            <a:spAutoFit/>
          </a:bodyPr>
          <a:lstStyle/>
          <a:p>
            <a:pPr lvl="1"/>
            <a:r>
              <a:rPr lang="de-DE"/>
              <a:t>Bundesdruckerei GmbH</a:t>
            </a:r>
          </a:p>
          <a:p>
            <a:pPr lvl="1"/>
            <a:r>
              <a:rPr lang="de-DE"/>
              <a:t>HR TEC NT</a:t>
            </a:r>
            <a:endParaRPr lang="de-DE">
              <a:ea typeface="Verdana"/>
            </a:endParaRPr>
          </a:p>
          <a:p>
            <a:pPr lvl="1"/>
            <a:r>
              <a:rPr lang="de-DE"/>
              <a:t>E-Mail: theo.leuthardt@bdr.de</a:t>
            </a:r>
            <a:endParaRPr lang="de-DE">
              <a:ea typeface="Verdana"/>
            </a:endParaRPr>
          </a:p>
          <a:p>
            <a:pPr lvl="1"/>
            <a:r>
              <a:rPr lang="de-DE"/>
              <a:t>Telefon: +49 1702716486</a:t>
            </a:r>
            <a:endParaRPr lang="de-DE">
              <a:ea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41489738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C7E0DE6-351B-40AC-807B-E91A546FA56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39876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CC7E0DE6-351B-40AC-807B-E91A546FA5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5A1C42B-E816-46D0-8A69-7B61FF00561C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/>
              <a:t>Gliederung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C9FD22D-07A0-44C0-BF37-0B36D0DEBDA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79424" y="446475"/>
            <a:ext cx="9324988" cy="246221"/>
          </a:xfrm>
        </p:spPr>
        <p:txBody>
          <a:bodyPr/>
          <a:lstStyle/>
          <a:p>
            <a:r>
              <a:rPr lang="de-DE"/>
              <a:t>Frontend mit Angular: Entwicklungsprozess vom Design zur Websit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7E70388-9E2C-426E-9FF9-534BE84EAF8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/>
        <p:txBody>
          <a:bodyPr/>
          <a:lstStyle/>
          <a:p>
            <a:r>
              <a:rPr lang="de-DE"/>
              <a:t>Problemstellung</a:t>
            </a:r>
          </a:p>
          <a:p>
            <a:r>
              <a:rPr lang="de-DE"/>
              <a:t>Randbedingungen</a:t>
            </a:r>
          </a:p>
          <a:p>
            <a:r>
              <a:rPr lang="de-DE"/>
              <a:t>Entwicklungsprozess</a:t>
            </a:r>
          </a:p>
          <a:p>
            <a:r>
              <a:rPr lang="de-DE"/>
              <a:t>Ergebnisse</a:t>
            </a:r>
          </a:p>
          <a:p>
            <a:r>
              <a:rPr lang="de-DE"/>
              <a:t>Fazit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32F89EE-5B60-485A-91F7-4EC9B76CEAEF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de-DE" noProof="0"/>
              <a:t>17.07.2024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AABBA81-C9C2-4D9E-8870-8501CAB98C3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de-DE" noProof="0"/>
              <a:t>Klassifizierung nicht vertraulich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70D1481-7C2D-4290-A135-E0E70C44486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645586CC-6D24-4895-9441-71B1281C15CA}" type="slidenum">
              <a:rPr lang="de-DE" noProof="0" smtClean="0"/>
              <a:pPr/>
              <a:t>2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150443987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0444A37-2AB6-4AAB-8226-AFAC31747F2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06234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0444A37-2AB6-4AAB-8226-AFAC31747F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5151E6-97E0-4BE7-ACCA-C5EDC9DBE831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79376" y="2988241"/>
            <a:ext cx="11233150" cy="584775"/>
          </a:xfrm>
        </p:spPr>
        <p:txBody>
          <a:bodyPr vert="horz"/>
          <a:lstStyle/>
          <a:p>
            <a:r>
              <a:rPr lang="de-DE"/>
              <a:t>1. Problemstellung</a:t>
            </a:r>
          </a:p>
        </p:txBody>
      </p:sp>
      <p:sp>
        <p:nvSpPr>
          <p:cNvPr id="17" name="Datumsplatzhalter 16">
            <a:extLst>
              <a:ext uri="{FF2B5EF4-FFF2-40B4-BE49-F238E27FC236}">
                <a16:creationId xmlns:a16="http://schemas.microsoft.com/office/drawing/2014/main" id="{62978F16-156E-475B-93F3-EC654249A98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75904" y="6357711"/>
            <a:ext cx="720000" cy="138499"/>
          </a:xfrm>
        </p:spPr>
        <p:txBody>
          <a:bodyPr/>
          <a:lstStyle/>
          <a:p>
            <a:r>
              <a:rPr lang="de-DE" noProof="0"/>
              <a:t>17.07.2024</a:t>
            </a:r>
          </a:p>
        </p:txBody>
      </p:sp>
      <p:sp>
        <p:nvSpPr>
          <p:cNvPr id="18" name="Fußzeilenplatzhalter 17">
            <a:extLst>
              <a:ext uri="{FF2B5EF4-FFF2-40B4-BE49-F238E27FC236}">
                <a16:creationId xmlns:a16="http://schemas.microsoft.com/office/drawing/2014/main" id="{E377CD37-73BF-4BD4-B561-0511C3D50D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471" y="6357712"/>
            <a:ext cx="8640000" cy="138499"/>
          </a:xfrm>
        </p:spPr>
        <p:txBody>
          <a:bodyPr/>
          <a:lstStyle/>
          <a:p>
            <a:r>
              <a:rPr lang="de-DE" noProof="0"/>
              <a:t>Klassifizierung nicht vertraulich</a:t>
            </a:r>
          </a:p>
        </p:txBody>
      </p:sp>
      <p:sp>
        <p:nvSpPr>
          <p:cNvPr id="19" name="Foliennummernplatzhalter 18">
            <a:extLst>
              <a:ext uri="{FF2B5EF4-FFF2-40B4-BE49-F238E27FC236}">
                <a16:creationId xmlns:a16="http://schemas.microsoft.com/office/drawing/2014/main" id="{51FB477E-CF28-4B6C-A819-07BA4BA92B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2624" y="6357712"/>
            <a:ext cx="360000" cy="138499"/>
          </a:xfrm>
        </p:spPr>
        <p:txBody>
          <a:bodyPr/>
          <a:lstStyle/>
          <a:p>
            <a:fld id="{645586CC-6D24-4895-9441-71B1281C15CA}" type="slidenum">
              <a:rPr lang="de-DE" noProof="0" smtClean="0"/>
              <a:pPr/>
              <a:t>3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325923285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DBA0CDE-1E5F-49B4-909D-7020AB7C14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6DBA0CDE-1E5F-49B4-909D-7020AB7C14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27CC909-7103-480C-9257-B1E7EBFE3E07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1088740"/>
            <a:ext cx="11233150" cy="415498"/>
          </a:xfrm>
        </p:spPr>
        <p:txBody>
          <a:bodyPr vert="horz"/>
          <a:lstStyle/>
          <a:p>
            <a:r>
              <a:rPr lang="de-DE"/>
              <a:t>1. Problemstellung 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2972672B-0DC7-4E21-AED7-23F9F9AA8194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479376" y="2348880"/>
            <a:ext cx="3875181" cy="3564000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de-DE">
                <a:ea typeface="Verdana"/>
              </a:rPr>
              <a:t>Projekt:</a:t>
            </a:r>
          </a:p>
          <a:p>
            <a:pPr marL="285750" indent="-285750">
              <a:buFontTx/>
              <a:buChar char="-"/>
            </a:pPr>
            <a:r>
              <a:rPr lang="de-DE">
                <a:ea typeface="Verdana"/>
              </a:rPr>
              <a:t>Bereich: German ID-Systems</a:t>
            </a:r>
          </a:p>
          <a:p>
            <a:pPr marL="285750" indent="-285750">
              <a:buFontTx/>
              <a:buChar char="-"/>
            </a:pPr>
            <a:r>
              <a:rPr lang="de-DE">
                <a:ea typeface="Verdana"/>
              </a:rPr>
              <a:t>Überwachung von Produktionslinien</a:t>
            </a:r>
          </a:p>
          <a:p>
            <a:pPr marL="285750" indent="-285750">
              <a:buFontTx/>
              <a:buChar char="-"/>
            </a:pPr>
            <a:endParaRPr lang="de-DE">
              <a:ea typeface="Verdana"/>
            </a:endParaRPr>
          </a:p>
          <a:p>
            <a:r>
              <a:rPr lang="de-DE">
                <a:ea typeface="Verdana"/>
              </a:rPr>
              <a:t>Problem:</a:t>
            </a:r>
          </a:p>
          <a:p>
            <a:pPr marL="285750" indent="-285750">
              <a:buFontTx/>
              <a:buChar char="-"/>
            </a:pPr>
            <a:r>
              <a:rPr lang="de-DE">
                <a:ea typeface="Verdana"/>
              </a:rPr>
              <a:t>Navigationsleiste nicht ausgereift</a:t>
            </a:r>
          </a:p>
          <a:p>
            <a:pPr marL="285750" indent="-285750">
              <a:buFontTx/>
              <a:buChar char="-"/>
            </a:pPr>
            <a:endParaRPr lang="de-DE">
              <a:ea typeface="Verdana"/>
            </a:endParaRPr>
          </a:p>
          <a:p>
            <a:r>
              <a:rPr lang="de-DE">
                <a:ea typeface="Verdana"/>
              </a:rPr>
              <a:t>Anforderungen:</a:t>
            </a:r>
          </a:p>
          <a:p>
            <a:pPr marL="285750" indent="-285750">
              <a:buFontTx/>
              <a:buChar char="-"/>
            </a:pPr>
            <a:r>
              <a:rPr lang="de-DE">
                <a:ea typeface="Verdana"/>
              </a:rPr>
              <a:t>Ein- und Aufklappfunktion über Button</a:t>
            </a:r>
          </a:p>
          <a:p>
            <a:pPr marL="285750" indent="-285750">
              <a:buFontTx/>
              <a:buChar char="-"/>
            </a:pPr>
            <a:r>
              <a:rPr lang="de-DE">
                <a:ea typeface="Verdana"/>
              </a:rPr>
              <a:t>Dropdownmenü</a:t>
            </a:r>
          </a:p>
          <a:p>
            <a:pPr marL="285750" indent="-285750">
              <a:buFontTx/>
              <a:buChar char="-"/>
            </a:pPr>
            <a:r>
              <a:rPr lang="de-DE">
                <a:ea typeface="Verdana"/>
              </a:rPr>
              <a:t>Zugeklappter Zustand:</a:t>
            </a:r>
          </a:p>
          <a:p>
            <a:pPr marL="465138" lvl="1" indent="-285750">
              <a:buFontTx/>
              <a:buChar char="-"/>
            </a:pPr>
            <a:r>
              <a:rPr lang="de-DE">
                <a:ea typeface="Verdana"/>
              </a:rPr>
              <a:t>Suchleistenerweiterung</a:t>
            </a:r>
          </a:p>
          <a:p>
            <a:pPr marL="465138" lvl="1" indent="-285750">
              <a:buFontTx/>
              <a:buChar char="-"/>
            </a:pPr>
            <a:r>
              <a:rPr lang="de-DE">
                <a:ea typeface="Verdana"/>
              </a:rPr>
              <a:t>Dropdownoverlay</a:t>
            </a:r>
          </a:p>
          <a:p>
            <a:pPr marL="285750" indent="-285750">
              <a:buFontTx/>
              <a:buChar char="-"/>
            </a:pPr>
            <a:r>
              <a:rPr lang="de-DE">
                <a:ea typeface="Verdana"/>
              </a:rPr>
              <a:t>Suchergebnisse anzeigen</a:t>
            </a:r>
          </a:p>
          <a:p>
            <a:pPr marL="285750" indent="-285750">
              <a:buFontTx/>
              <a:buChar char="-"/>
            </a:pPr>
            <a:endParaRPr lang="de-DE">
              <a:ea typeface="Verdana"/>
            </a:endParaRPr>
          </a:p>
          <a:p>
            <a:pPr marL="285750" indent="-285750">
              <a:buFont typeface="Calibri" panose="020B0604020202020204" pitchFamily="34" charset="0"/>
              <a:buChar char="-"/>
            </a:pPr>
            <a:endParaRPr lang="de-DE">
              <a:ea typeface="Verdana"/>
            </a:endParaRPr>
          </a:p>
          <a:p>
            <a:pPr marL="285750" indent="-285750">
              <a:buFont typeface="Calibri" panose="020B0604020202020204" pitchFamily="34" charset="0"/>
              <a:buChar char="-"/>
            </a:pPr>
            <a:endParaRPr lang="de-DE">
              <a:ea typeface="Verdana"/>
            </a:endParaRPr>
          </a:p>
          <a:p>
            <a:pPr marL="342900" indent="-342900">
              <a:buFont typeface="Calibri" panose="020B0604020202020204" pitchFamily="34" charset="0"/>
              <a:buChar char="-"/>
            </a:pPr>
            <a:endParaRPr lang="de-DE">
              <a:ea typeface="Verdana"/>
            </a:endParaRP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6FE27A1-1DC4-49A0-9EBF-4021866DD01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79424" y="446475"/>
            <a:ext cx="9324988" cy="246221"/>
          </a:xfrm>
        </p:spPr>
        <p:txBody>
          <a:bodyPr/>
          <a:lstStyle/>
          <a:p>
            <a:r>
              <a:rPr lang="de-DE"/>
              <a:t>Frontend mit Angular: Entwicklungsprozess vom Design zur Websit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EBE327A-450A-4631-920C-80A1F0E4D3F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479424" y="1628800"/>
            <a:ext cx="11233150" cy="246221"/>
          </a:xfrm>
        </p:spPr>
        <p:txBody>
          <a:bodyPr/>
          <a:lstStyle/>
          <a:p>
            <a:r>
              <a:rPr lang="de-DE"/>
              <a:t>Equipment-Integration-Layer: Navigationsleiste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4B6A3F13-1E5E-40D0-B011-C9246813962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de-DE" noProof="0"/>
              <a:t>17.07.2024</a:t>
            </a:r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D8D8C577-6C4C-44CD-9D6F-E6479F0B05B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noProof="0"/>
              <a:t>Klassifizierung nicht vertraulich</a:t>
            </a: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866F31BE-AA15-44EF-AE80-F93764D8730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45586CC-6D24-4895-9441-71B1281C15CA}" type="slidenum">
              <a:rPr lang="de-DE" noProof="0" smtClean="0"/>
              <a:pPr/>
              <a:t>4</a:t>
            </a:fld>
            <a:endParaRPr lang="de-DE" noProof="0"/>
          </a:p>
        </p:txBody>
      </p:sp>
      <p:pic>
        <p:nvPicPr>
          <p:cNvPr id="12" name="Grafik 11" descr="Ein Bild, das Text, Screenshot, Schrift, Zahl enthält.&#10;&#10;Automatisch generierte Beschreibung">
            <a:extLst>
              <a:ext uri="{FF2B5EF4-FFF2-40B4-BE49-F238E27FC236}">
                <a16:creationId xmlns:a16="http://schemas.microsoft.com/office/drawing/2014/main" id="{FEDA6293-D11A-88F4-74FD-830A03CC23E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44698" y="2205292"/>
            <a:ext cx="2071552" cy="3240000"/>
          </a:xfrm>
          <a:prstGeom prst="rect">
            <a:avLst/>
          </a:prstGeom>
        </p:spPr>
      </p:pic>
      <p:pic>
        <p:nvPicPr>
          <p:cNvPr id="22" name="Grafik 21" descr="Ein Bild, das Text, Screenshot, Design, Stecker enthält.&#10;&#10;Automatisch generierte Beschreibung">
            <a:extLst>
              <a:ext uri="{FF2B5EF4-FFF2-40B4-BE49-F238E27FC236}">
                <a16:creationId xmlns:a16="http://schemas.microsoft.com/office/drawing/2014/main" id="{04C53F2E-F6D2-3FCF-0D6B-C79D74EA4D0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08168" y="2204864"/>
            <a:ext cx="794286" cy="3240000"/>
          </a:xfrm>
          <a:prstGeom prst="rect">
            <a:avLst/>
          </a:prstGeom>
        </p:spPr>
      </p:pic>
      <p:pic>
        <p:nvPicPr>
          <p:cNvPr id="24" name="Grafik 23" descr="Ein Bild, das Text, Screenshot, Schrift, weiß enthält.&#10;&#10;Automatisch generierte Beschreibung">
            <a:extLst>
              <a:ext uri="{FF2B5EF4-FFF2-40B4-BE49-F238E27FC236}">
                <a16:creationId xmlns:a16="http://schemas.microsoft.com/office/drawing/2014/main" id="{5368B1F0-1283-4FA3-D550-3E974D382B8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994372" y="4352305"/>
            <a:ext cx="2160240" cy="1229588"/>
          </a:xfrm>
          <a:prstGeom prst="rect">
            <a:avLst/>
          </a:prstGeom>
        </p:spPr>
      </p:pic>
      <p:pic>
        <p:nvPicPr>
          <p:cNvPr id="26" name="Grafik 25" descr="Ein Bild, das Text, Screenshot, Schrift, Zahl enthält.&#10;&#10;Automatisch generierte Beschreibung">
            <a:extLst>
              <a:ext uri="{FF2B5EF4-FFF2-40B4-BE49-F238E27FC236}">
                <a16:creationId xmlns:a16="http://schemas.microsoft.com/office/drawing/2014/main" id="{BBC67147-618E-EE3A-CE08-37E3A389B4D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994372" y="2071488"/>
            <a:ext cx="1925338" cy="1744072"/>
          </a:xfrm>
          <a:prstGeom prst="rect">
            <a:avLst/>
          </a:prstGeom>
        </p:spPr>
      </p:pic>
      <p:sp>
        <p:nvSpPr>
          <p:cNvPr id="27" name="Textfeld 26">
            <a:extLst>
              <a:ext uri="{FF2B5EF4-FFF2-40B4-BE49-F238E27FC236}">
                <a16:creationId xmlns:a16="http://schemas.microsoft.com/office/drawing/2014/main" id="{F07E2A62-7621-9F18-7CCE-BE116B642AA9}"/>
              </a:ext>
            </a:extLst>
          </p:cNvPr>
          <p:cNvSpPr txBox="1"/>
          <p:nvPr/>
        </p:nvSpPr>
        <p:spPr>
          <a:xfrm>
            <a:off x="4944698" y="5532824"/>
            <a:ext cx="1799374" cy="13510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07000"/>
              </a:lnSpc>
              <a:buClr>
                <a:schemeClr val="accent3"/>
              </a:buClr>
            </a:pPr>
            <a:r>
              <a:rPr lang="de-DE" sz="900">
                <a:ea typeface="Verdana"/>
              </a:rPr>
              <a:t>Abb.1: Navbar ausgeklappt</a:t>
            </a:r>
            <a:endParaRPr lang="de-DE"/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EE89A9B3-3B47-F142-A3EF-586C704046F5}"/>
              </a:ext>
            </a:extLst>
          </p:cNvPr>
          <p:cNvSpPr txBox="1"/>
          <p:nvPr/>
        </p:nvSpPr>
        <p:spPr>
          <a:xfrm>
            <a:off x="7608168" y="5537684"/>
            <a:ext cx="864096" cy="28328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07000"/>
              </a:lnSpc>
              <a:buClr>
                <a:schemeClr val="accent3"/>
              </a:buClr>
            </a:pPr>
            <a:r>
              <a:rPr lang="de-DE" sz="900">
                <a:ea typeface="Verdana"/>
              </a:rPr>
              <a:t>Abb.2: Navbar zugeklappt</a:t>
            </a:r>
            <a:endParaRPr lang="de-DE"/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F7994CA1-07D7-F2CD-6A53-71EFF77474DD}"/>
              </a:ext>
            </a:extLst>
          </p:cNvPr>
          <p:cNvSpPr txBox="1"/>
          <p:nvPr/>
        </p:nvSpPr>
        <p:spPr>
          <a:xfrm>
            <a:off x="8994372" y="3862548"/>
            <a:ext cx="1799374" cy="28328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07000"/>
              </a:lnSpc>
              <a:buClr>
                <a:schemeClr val="accent3"/>
              </a:buClr>
            </a:pPr>
            <a:r>
              <a:rPr lang="de-DE" sz="900">
                <a:ea typeface="Verdana"/>
              </a:rPr>
              <a:t>Abb.3: Suchleistenerweiterung mit Suchergebnissen</a:t>
            </a:r>
            <a:endParaRPr lang="de-DE"/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70CD9A8C-1235-6D68-BCE2-72048738FDDB}"/>
              </a:ext>
            </a:extLst>
          </p:cNvPr>
          <p:cNvSpPr txBox="1"/>
          <p:nvPr/>
        </p:nvSpPr>
        <p:spPr>
          <a:xfrm>
            <a:off x="8994372" y="5632382"/>
            <a:ext cx="1799374" cy="13510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07000"/>
              </a:lnSpc>
              <a:buClr>
                <a:schemeClr val="accent3"/>
              </a:buClr>
            </a:pPr>
            <a:r>
              <a:rPr lang="de-DE" sz="900">
                <a:ea typeface="Verdana"/>
              </a:rPr>
              <a:t>Abb.4: Dropdownoverlay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4189913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0444A37-2AB6-4AAB-8226-AFAC31747F2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0444A37-2AB6-4AAB-8226-AFAC31747F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5151E6-97E0-4BE7-ACCA-C5EDC9DBE831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79376" y="2988241"/>
            <a:ext cx="11233150" cy="584775"/>
          </a:xfrm>
        </p:spPr>
        <p:txBody>
          <a:bodyPr vert="horz"/>
          <a:lstStyle/>
          <a:p>
            <a:r>
              <a:rPr lang="de-DE"/>
              <a:t>2. Randbedingungen</a:t>
            </a:r>
          </a:p>
        </p:txBody>
      </p:sp>
      <p:sp>
        <p:nvSpPr>
          <p:cNvPr id="17" name="Datumsplatzhalter 16">
            <a:extLst>
              <a:ext uri="{FF2B5EF4-FFF2-40B4-BE49-F238E27FC236}">
                <a16:creationId xmlns:a16="http://schemas.microsoft.com/office/drawing/2014/main" id="{62978F16-156E-475B-93F3-EC654249A98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75904" y="6357711"/>
            <a:ext cx="720000" cy="138499"/>
          </a:xfrm>
        </p:spPr>
        <p:txBody>
          <a:bodyPr/>
          <a:lstStyle/>
          <a:p>
            <a:r>
              <a:rPr lang="de-DE" noProof="0"/>
              <a:t>17.07.2024</a:t>
            </a:r>
          </a:p>
        </p:txBody>
      </p:sp>
      <p:sp>
        <p:nvSpPr>
          <p:cNvPr id="18" name="Fußzeilenplatzhalter 17">
            <a:extLst>
              <a:ext uri="{FF2B5EF4-FFF2-40B4-BE49-F238E27FC236}">
                <a16:creationId xmlns:a16="http://schemas.microsoft.com/office/drawing/2014/main" id="{E377CD37-73BF-4BD4-B561-0511C3D50D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471" y="6357712"/>
            <a:ext cx="8640000" cy="138499"/>
          </a:xfrm>
        </p:spPr>
        <p:txBody>
          <a:bodyPr/>
          <a:lstStyle/>
          <a:p>
            <a:r>
              <a:rPr lang="de-DE" noProof="0"/>
              <a:t>Klassifizierung nicht vertraulich</a:t>
            </a:r>
          </a:p>
        </p:txBody>
      </p:sp>
      <p:sp>
        <p:nvSpPr>
          <p:cNvPr id="19" name="Foliennummernplatzhalter 18">
            <a:extLst>
              <a:ext uri="{FF2B5EF4-FFF2-40B4-BE49-F238E27FC236}">
                <a16:creationId xmlns:a16="http://schemas.microsoft.com/office/drawing/2014/main" id="{51FB477E-CF28-4B6C-A819-07BA4BA92B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2624" y="6357712"/>
            <a:ext cx="360000" cy="138499"/>
          </a:xfrm>
        </p:spPr>
        <p:txBody>
          <a:bodyPr/>
          <a:lstStyle/>
          <a:p>
            <a:fld id="{645586CC-6D24-4895-9441-71B1281C15CA}" type="slidenum">
              <a:rPr lang="de-DE" noProof="0" smtClean="0"/>
              <a:pPr/>
              <a:t>5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126260475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DBA0CDE-1E5F-49B4-909D-7020AB7C14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6DBA0CDE-1E5F-49B4-909D-7020AB7C14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27CC909-7103-480C-9257-B1E7EBFE3E07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1088740"/>
            <a:ext cx="11233150" cy="415498"/>
          </a:xfrm>
        </p:spPr>
        <p:txBody>
          <a:bodyPr vert="horz"/>
          <a:lstStyle/>
          <a:p>
            <a:r>
              <a:rPr lang="de-DE"/>
              <a:t>2. Randbedingungen 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6FE27A1-1DC4-49A0-9EBF-4021866DD01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79424" y="446475"/>
            <a:ext cx="9324988" cy="246221"/>
          </a:xfrm>
        </p:spPr>
        <p:txBody>
          <a:bodyPr/>
          <a:lstStyle/>
          <a:p>
            <a:r>
              <a:rPr lang="de-DE"/>
              <a:t>Frontend mit Angular: Entwicklungsprozess vom Design zur Websit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EBE327A-450A-4631-920C-80A1F0E4D3F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480618" y="1628800"/>
            <a:ext cx="11233150" cy="246221"/>
          </a:xfrm>
        </p:spPr>
        <p:txBody>
          <a:bodyPr/>
          <a:lstStyle/>
          <a:p>
            <a:r>
              <a:rPr lang="de-DE">
                <a:ea typeface="Verdana"/>
              </a:rPr>
              <a:t>Technologien und Software</a:t>
            </a:r>
            <a:endParaRPr lang="de-DE"/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4B6A3F13-1E5E-40D0-B011-C9246813962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de-DE" noProof="0"/>
              <a:t>17.07.2024</a:t>
            </a:r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D8D8C577-6C4C-44CD-9D6F-E6479F0B05B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noProof="0"/>
              <a:t>Klassifizierung nicht vertraulich</a:t>
            </a: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866F31BE-AA15-44EF-AE80-F93764D8730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45586CC-6D24-4895-9441-71B1281C15CA}" type="slidenum">
              <a:rPr lang="de-DE" noProof="0" smtClean="0"/>
              <a:pPr/>
              <a:t>6</a:t>
            </a:fld>
            <a:endParaRPr lang="de-DE" noProof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49A16B29-D2C3-300F-209A-3F45BAFA874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473669" y="2866072"/>
            <a:ext cx="769750" cy="763292"/>
          </a:xfrm>
          <a:prstGeom prst="rect">
            <a:avLst/>
          </a:prstGeom>
        </p:spPr>
      </p:pic>
      <p:pic>
        <p:nvPicPr>
          <p:cNvPr id="16" name="Grafik 15" descr="Ein Bild, das orange, Grafiken, Dreieck, Farbigkeit enthält.&#10;&#10;Beschreibung automatisch generiert.">
            <a:extLst>
              <a:ext uri="{FF2B5EF4-FFF2-40B4-BE49-F238E27FC236}">
                <a16:creationId xmlns:a16="http://schemas.microsoft.com/office/drawing/2014/main" id="{B1DF8580-11F3-F4B3-AB9E-93A859B3648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630052" y="3615034"/>
            <a:ext cx="853699" cy="840784"/>
          </a:xfrm>
          <a:prstGeom prst="rect">
            <a:avLst/>
          </a:prstGeom>
        </p:spPr>
      </p:pic>
      <p:sp>
        <p:nvSpPr>
          <p:cNvPr id="21" name="Textfeld 20">
            <a:extLst>
              <a:ext uri="{FF2B5EF4-FFF2-40B4-BE49-F238E27FC236}">
                <a16:creationId xmlns:a16="http://schemas.microsoft.com/office/drawing/2014/main" id="{FF682961-6CA6-48A3-5F0E-35C922320436}"/>
              </a:ext>
            </a:extLst>
          </p:cNvPr>
          <p:cNvSpPr txBox="1"/>
          <p:nvPr/>
        </p:nvSpPr>
        <p:spPr>
          <a:xfrm>
            <a:off x="4530311" y="3715193"/>
            <a:ext cx="1331415" cy="13510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107000"/>
              </a:lnSpc>
              <a:buClr>
                <a:schemeClr val="accent3"/>
              </a:buClr>
            </a:pPr>
            <a:r>
              <a:rPr lang="de-DE" sz="900">
                <a:ea typeface="Verdana"/>
              </a:rPr>
              <a:t>Abb.4: </a:t>
            </a:r>
            <a:r>
              <a:rPr lang="de-DE" sz="900" err="1">
                <a:ea typeface="Verdana"/>
              </a:rPr>
              <a:t>Webstorm</a:t>
            </a:r>
            <a:endParaRPr lang="de-DE" sz="900">
              <a:ea typeface="Verdana"/>
            </a:endParaRP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B8F6B0E9-A705-BDF1-10DF-91B8EE81A453}"/>
              </a:ext>
            </a:extLst>
          </p:cNvPr>
          <p:cNvSpPr txBox="1"/>
          <p:nvPr/>
        </p:nvSpPr>
        <p:spPr>
          <a:xfrm>
            <a:off x="6166993" y="3721618"/>
            <a:ext cx="1331415" cy="13510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107000"/>
              </a:lnSpc>
              <a:buClr>
                <a:schemeClr val="accent3"/>
              </a:buClr>
            </a:pPr>
            <a:r>
              <a:rPr lang="de-DE" sz="900">
                <a:ea typeface="Verdana"/>
              </a:rPr>
              <a:t>Abb.4: </a:t>
            </a:r>
            <a:r>
              <a:rPr lang="de-DE" sz="900" err="1">
                <a:ea typeface="Verdana"/>
              </a:rPr>
              <a:t>Typescript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B11666EB-CD92-4FA2-D9FA-D7EB7D725D10}"/>
              </a:ext>
            </a:extLst>
          </p:cNvPr>
          <p:cNvSpPr txBox="1"/>
          <p:nvPr/>
        </p:nvSpPr>
        <p:spPr>
          <a:xfrm>
            <a:off x="4534871" y="5487604"/>
            <a:ext cx="1331415" cy="13510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107000"/>
              </a:lnSpc>
              <a:buClr>
                <a:schemeClr val="accent3"/>
              </a:buClr>
            </a:pPr>
            <a:r>
              <a:rPr lang="de-DE" sz="900">
                <a:ea typeface="Verdana"/>
              </a:rPr>
              <a:t>Abb.5: Angular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DBAB89B2-8DB9-24CF-F040-1D2185A7AA27}"/>
              </a:ext>
            </a:extLst>
          </p:cNvPr>
          <p:cNvSpPr txBox="1"/>
          <p:nvPr/>
        </p:nvSpPr>
        <p:spPr>
          <a:xfrm>
            <a:off x="6166993" y="5485506"/>
            <a:ext cx="1331415" cy="13510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107000"/>
              </a:lnSpc>
              <a:buClr>
                <a:schemeClr val="accent3"/>
              </a:buClr>
            </a:pPr>
            <a:r>
              <a:rPr lang="de-DE" sz="900">
                <a:ea typeface="Verdana"/>
              </a:rPr>
              <a:t>Abb.6: SASS</a:t>
            </a:r>
            <a:endParaRPr lang="de-DE">
              <a:ea typeface="Verdana"/>
            </a:endParaRP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7AF8E99F-405B-74A2-5F91-20A2E79F8414}"/>
              </a:ext>
            </a:extLst>
          </p:cNvPr>
          <p:cNvSpPr txBox="1"/>
          <p:nvPr/>
        </p:nvSpPr>
        <p:spPr>
          <a:xfrm>
            <a:off x="9392944" y="4571728"/>
            <a:ext cx="1331415" cy="13510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107000"/>
              </a:lnSpc>
              <a:buClr>
                <a:schemeClr val="accent3"/>
              </a:buClr>
            </a:pPr>
            <a:r>
              <a:rPr lang="de-DE" sz="900">
                <a:ea typeface="Verdana"/>
              </a:rPr>
              <a:t>Abb.7: </a:t>
            </a:r>
            <a:r>
              <a:rPr lang="de-DE" sz="900" err="1">
                <a:ea typeface="Verdana"/>
              </a:rPr>
              <a:t>Gitlab</a:t>
            </a:r>
            <a:endParaRPr lang="de-DE" err="1"/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7F1E19A0-0B93-9F45-C9D5-3BAC76E3A0C2}"/>
              </a:ext>
            </a:extLst>
          </p:cNvPr>
          <p:cNvSpPr txBox="1"/>
          <p:nvPr/>
        </p:nvSpPr>
        <p:spPr>
          <a:xfrm>
            <a:off x="1324802" y="4578485"/>
            <a:ext cx="1331415" cy="13510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107000"/>
              </a:lnSpc>
              <a:buClr>
                <a:schemeClr val="accent3"/>
              </a:buClr>
            </a:pPr>
            <a:r>
              <a:rPr lang="de-DE" sz="900">
                <a:ea typeface="Verdana"/>
              </a:rPr>
              <a:t>Abb.3: Figma</a:t>
            </a:r>
            <a:endParaRPr lang="de-DE"/>
          </a:p>
        </p:txBody>
      </p:sp>
      <p:sp>
        <p:nvSpPr>
          <p:cNvPr id="31" name="Rechteck: abgerundete Ecken 30">
            <a:extLst>
              <a:ext uri="{FF2B5EF4-FFF2-40B4-BE49-F238E27FC236}">
                <a16:creationId xmlns:a16="http://schemas.microsoft.com/office/drawing/2014/main" id="{EACBD842-72AE-C386-CE60-CCC666B68A02}"/>
              </a:ext>
            </a:extLst>
          </p:cNvPr>
          <p:cNvSpPr/>
          <p:nvPr/>
        </p:nvSpPr>
        <p:spPr>
          <a:xfrm>
            <a:off x="4341812" y="2524237"/>
            <a:ext cx="3362676" cy="3475565"/>
          </a:xfrm>
          <a:prstGeom prst="roundRect">
            <a:avLst/>
          </a:prstGeom>
          <a:noFill/>
          <a:ln>
            <a:solidFill>
              <a:schemeClr val="accent3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l">
              <a:lnSpc>
                <a:spcPct val="107000"/>
              </a:lnSpc>
              <a:buFont typeface="Arial" panose="020B0604020202020204" pitchFamily="34" charset="0"/>
              <a:buChar char="•"/>
            </a:pPr>
            <a:endParaRPr lang="de-DE" sz="1400" err="1"/>
          </a:p>
        </p:txBody>
      </p:sp>
      <p:sp>
        <p:nvSpPr>
          <p:cNvPr id="33" name="Rechteck: abgerundete Ecken 32">
            <a:extLst>
              <a:ext uri="{FF2B5EF4-FFF2-40B4-BE49-F238E27FC236}">
                <a16:creationId xmlns:a16="http://schemas.microsoft.com/office/drawing/2014/main" id="{78162BDF-4570-4B69-149D-70246D06D95E}"/>
              </a:ext>
            </a:extLst>
          </p:cNvPr>
          <p:cNvSpPr/>
          <p:nvPr/>
        </p:nvSpPr>
        <p:spPr>
          <a:xfrm>
            <a:off x="9176955" y="3345086"/>
            <a:ext cx="1754010" cy="1655233"/>
          </a:xfrm>
          <a:prstGeom prst="roundRect">
            <a:avLst/>
          </a:prstGeom>
          <a:noFill/>
          <a:ln>
            <a:solidFill>
              <a:schemeClr val="accent3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l">
              <a:lnSpc>
                <a:spcPct val="107000"/>
              </a:lnSpc>
              <a:buFont typeface="Arial" panose="020B0604020202020204" pitchFamily="34" charset="0"/>
              <a:buChar char="•"/>
            </a:pPr>
            <a:endParaRPr lang="de-DE" sz="1400" err="1"/>
          </a:p>
        </p:txBody>
      </p:sp>
      <p:sp>
        <p:nvSpPr>
          <p:cNvPr id="35" name="Inhaltsplatzhalter 5">
            <a:extLst>
              <a:ext uri="{FF2B5EF4-FFF2-40B4-BE49-F238E27FC236}">
                <a16:creationId xmlns:a16="http://schemas.microsoft.com/office/drawing/2014/main" id="{DE6B527F-B013-73CE-2EC1-AC87AB73EF7F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5087888" y="2232930"/>
            <a:ext cx="1878459" cy="247889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de-DE" b="1">
                <a:ea typeface="Verdana"/>
              </a:rPr>
              <a:t>Implementierung:</a:t>
            </a:r>
          </a:p>
          <a:p>
            <a:pPr marL="285750" indent="-285750">
              <a:buFont typeface="Calibri" panose="020B0604020202020204" pitchFamily="34" charset="0"/>
              <a:buChar char="-"/>
            </a:pPr>
            <a:endParaRPr lang="de-DE">
              <a:ea typeface="Verdana"/>
            </a:endParaRPr>
          </a:p>
          <a:p>
            <a:pPr marL="285750" indent="-285750">
              <a:buFont typeface="Calibri" panose="020B0604020202020204" pitchFamily="34" charset="0"/>
              <a:buChar char="-"/>
            </a:pPr>
            <a:endParaRPr lang="de-DE">
              <a:ea typeface="Verdana"/>
            </a:endParaRPr>
          </a:p>
          <a:p>
            <a:pPr marL="342900" indent="-342900">
              <a:buFont typeface="Calibri" panose="020B0604020202020204" pitchFamily="34" charset="0"/>
              <a:buChar char="-"/>
            </a:pPr>
            <a:endParaRPr lang="de-DE">
              <a:ea typeface="Verdana"/>
            </a:endParaRPr>
          </a:p>
        </p:txBody>
      </p:sp>
      <p:sp>
        <p:nvSpPr>
          <p:cNvPr id="37" name="Inhaltsplatzhalter 5">
            <a:extLst>
              <a:ext uri="{FF2B5EF4-FFF2-40B4-BE49-F238E27FC236}">
                <a16:creationId xmlns:a16="http://schemas.microsoft.com/office/drawing/2014/main" id="{5854D7F7-CEAF-7908-7D47-195BF493ADDA}"/>
              </a:ext>
            </a:extLst>
          </p:cNvPr>
          <p:cNvSpPr txBox="1">
            <a:spLocks/>
          </p:cNvSpPr>
          <p:nvPr/>
        </p:nvSpPr>
        <p:spPr bwMode="gray">
          <a:xfrm>
            <a:off x="1173786" y="2966215"/>
            <a:ext cx="2068959" cy="24788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7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lnSpc>
                <a:spcPct val="107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4000" indent="-180000" algn="l" defTabSz="914400" rtl="0" eaLnBrk="1" latinLnBrk="0" hangingPunct="1">
              <a:lnSpc>
                <a:spcPct val="107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180000" algn="l" defTabSz="914400" rtl="0" eaLnBrk="1" latinLnBrk="0" hangingPunct="1">
              <a:lnSpc>
                <a:spcPct val="107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82000" indent="-180000" algn="l" defTabSz="914400" rtl="0" eaLnBrk="1" latinLnBrk="0" hangingPunct="1">
              <a:lnSpc>
                <a:spcPct val="107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82000" indent="-180000" algn="l" defTabSz="914400" rtl="0" eaLnBrk="1" latinLnBrk="0" hangingPunct="1">
              <a:lnSpc>
                <a:spcPct val="107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82000" indent="-180000" algn="l" defTabSz="914400" rtl="0" eaLnBrk="1" latinLnBrk="0" hangingPunct="1">
              <a:lnSpc>
                <a:spcPct val="107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82000" indent="-180000" algn="l" defTabSz="914400" rtl="0" eaLnBrk="1" latinLnBrk="0" hangingPunct="1">
              <a:lnSpc>
                <a:spcPct val="107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82000" indent="-180000" algn="l" defTabSz="914400" rtl="0" eaLnBrk="1" latinLnBrk="0" hangingPunct="1">
              <a:lnSpc>
                <a:spcPct val="107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1">
                <a:ea typeface="Verdana"/>
              </a:rPr>
              <a:t>Designplattform:</a:t>
            </a:r>
          </a:p>
          <a:p>
            <a:pPr marL="285750" indent="-285750">
              <a:buFont typeface="Calibri" panose="020B0604020202020204" pitchFamily="34" charset="0"/>
              <a:buChar char="-"/>
            </a:pPr>
            <a:endParaRPr lang="de-DE">
              <a:ea typeface="Verdana"/>
            </a:endParaRPr>
          </a:p>
          <a:p>
            <a:pPr marL="285750" indent="-285750">
              <a:buFont typeface="Calibri" panose="020B0604020202020204" pitchFamily="34" charset="0"/>
              <a:buChar char="-"/>
            </a:pPr>
            <a:endParaRPr lang="de-DE">
              <a:ea typeface="Verdana"/>
            </a:endParaRPr>
          </a:p>
          <a:p>
            <a:pPr marL="342900" indent="-342900">
              <a:buFont typeface="Calibri" panose="020B0604020202020204" pitchFamily="34" charset="0"/>
              <a:buChar char="-"/>
            </a:pPr>
            <a:endParaRPr lang="de-DE">
              <a:ea typeface="Verdana"/>
            </a:endParaRPr>
          </a:p>
        </p:txBody>
      </p:sp>
      <p:sp>
        <p:nvSpPr>
          <p:cNvPr id="39" name="Inhaltsplatzhalter 5">
            <a:extLst>
              <a:ext uri="{FF2B5EF4-FFF2-40B4-BE49-F238E27FC236}">
                <a16:creationId xmlns:a16="http://schemas.microsoft.com/office/drawing/2014/main" id="{167D3962-45C1-CF8C-2A97-E31DE9355681}"/>
              </a:ext>
            </a:extLst>
          </p:cNvPr>
          <p:cNvSpPr txBox="1">
            <a:spLocks/>
          </p:cNvSpPr>
          <p:nvPr/>
        </p:nvSpPr>
        <p:spPr bwMode="gray">
          <a:xfrm>
            <a:off x="9122933" y="3036848"/>
            <a:ext cx="1878459" cy="24788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7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lnSpc>
                <a:spcPct val="107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4000" indent="-180000" algn="l" defTabSz="914400" rtl="0" eaLnBrk="1" latinLnBrk="0" hangingPunct="1">
              <a:lnSpc>
                <a:spcPct val="107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180000" algn="l" defTabSz="914400" rtl="0" eaLnBrk="1" latinLnBrk="0" hangingPunct="1">
              <a:lnSpc>
                <a:spcPct val="107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82000" indent="-180000" algn="l" defTabSz="914400" rtl="0" eaLnBrk="1" latinLnBrk="0" hangingPunct="1">
              <a:lnSpc>
                <a:spcPct val="107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82000" indent="-180000" algn="l" defTabSz="914400" rtl="0" eaLnBrk="1" latinLnBrk="0" hangingPunct="1">
              <a:lnSpc>
                <a:spcPct val="107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82000" indent="-180000" algn="l" defTabSz="914400" rtl="0" eaLnBrk="1" latinLnBrk="0" hangingPunct="1">
              <a:lnSpc>
                <a:spcPct val="107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82000" indent="-180000" algn="l" defTabSz="914400" rtl="0" eaLnBrk="1" latinLnBrk="0" hangingPunct="1">
              <a:lnSpc>
                <a:spcPct val="107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82000" indent="-180000" algn="l" defTabSz="914400" rtl="0" eaLnBrk="1" latinLnBrk="0" hangingPunct="1">
              <a:lnSpc>
                <a:spcPct val="107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1">
                <a:ea typeface="Verdana"/>
              </a:rPr>
              <a:t>Versionsplattform:</a:t>
            </a:r>
          </a:p>
          <a:p>
            <a:pPr marL="285750" indent="-285750">
              <a:buFont typeface="Calibri" panose="020B0604020202020204" pitchFamily="34" charset="0"/>
              <a:buChar char="-"/>
            </a:pPr>
            <a:endParaRPr lang="de-DE">
              <a:ea typeface="Verdana"/>
            </a:endParaRPr>
          </a:p>
          <a:p>
            <a:pPr marL="285750" indent="-285750">
              <a:buFont typeface="Calibri" panose="020B0604020202020204" pitchFamily="34" charset="0"/>
              <a:buChar char="-"/>
            </a:pPr>
            <a:endParaRPr lang="de-DE">
              <a:ea typeface="Verdana"/>
            </a:endParaRPr>
          </a:p>
          <a:p>
            <a:pPr marL="342900" indent="-342900">
              <a:buFont typeface="Calibri" panose="020B0604020202020204" pitchFamily="34" charset="0"/>
              <a:buChar char="-"/>
            </a:pPr>
            <a:endParaRPr lang="de-DE">
              <a:ea typeface="Verdana"/>
            </a:endParaRPr>
          </a:p>
        </p:txBody>
      </p:sp>
      <p:pic>
        <p:nvPicPr>
          <p:cNvPr id="18" name="Grafik 17" descr="Ein Bild, das Farbigkeit, Grafiken, Screenshot, Kreis enthält.&#10;&#10;Automatisch generierte Beschreibung">
            <a:extLst>
              <a:ext uri="{FF2B5EF4-FFF2-40B4-BE49-F238E27FC236}">
                <a16:creationId xmlns:a16="http://schemas.microsoft.com/office/drawing/2014/main" id="{C31D3915-6753-BF34-DAA0-D0DA547ADD5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490109" y="3542180"/>
            <a:ext cx="1000800" cy="1000800"/>
          </a:xfrm>
          <a:prstGeom prst="rect">
            <a:avLst/>
          </a:prstGeom>
        </p:spPr>
      </p:pic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8EEB4E53-2381-7BC7-9773-ECA4DC4AD762}"/>
              </a:ext>
            </a:extLst>
          </p:cNvPr>
          <p:cNvSpPr/>
          <p:nvPr/>
        </p:nvSpPr>
        <p:spPr>
          <a:xfrm>
            <a:off x="1113504" y="3342893"/>
            <a:ext cx="1754010" cy="1655233"/>
          </a:xfrm>
          <a:prstGeom prst="roundRect">
            <a:avLst/>
          </a:prstGeom>
          <a:noFill/>
          <a:ln>
            <a:solidFill>
              <a:schemeClr val="accent3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l">
              <a:lnSpc>
                <a:spcPct val="107000"/>
              </a:lnSpc>
              <a:buFont typeface="Arial" panose="020B0604020202020204" pitchFamily="34" charset="0"/>
              <a:buChar char="•"/>
            </a:pPr>
            <a:endParaRPr lang="de-DE" sz="1400" err="1"/>
          </a:p>
        </p:txBody>
      </p:sp>
      <p:pic>
        <p:nvPicPr>
          <p:cNvPr id="22" name="Grafik 21" descr="Ein Bild, das Grafiken, Grafikdesign, Logo, Schrift enthält.&#10;&#10;Automatisch generierte Beschreibung">
            <a:extLst>
              <a:ext uri="{FF2B5EF4-FFF2-40B4-BE49-F238E27FC236}">
                <a16:creationId xmlns:a16="http://schemas.microsoft.com/office/drawing/2014/main" id="{90B67A71-BCCD-F066-8DA1-067F7A7A202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814372" y="2860983"/>
            <a:ext cx="763292" cy="763292"/>
          </a:xfrm>
          <a:prstGeom prst="rect">
            <a:avLst/>
          </a:prstGeom>
        </p:spPr>
      </p:pic>
      <p:pic>
        <p:nvPicPr>
          <p:cNvPr id="34" name="Grafik 33" descr="Ein Bild, das Farbigkeit, Grafiken, Dreieck, Kunst enthält.&#10;&#10;Automatisch generierte Beschreibung">
            <a:extLst>
              <a:ext uri="{FF2B5EF4-FFF2-40B4-BE49-F238E27FC236}">
                <a16:creationId xmlns:a16="http://schemas.microsoft.com/office/drawing/2014/main" id="{79B4B269-86BD-EE59-205F-216C7D680A6B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695618" y="4449348"/>
            <a:ext cx="1000800" cy="1000800"/>
          </a:xfrm>
          <a:prstGeom prst="rect">
            <a:avLst/>
          </a:prstGeom>
        </p:spPr>
      </p:pic>
      <p:pic>
        <p:nvPicPr>
          <p:cNvPr id="38" name="Grafik 37" descr="Ein Bild, das Grafiken, Schrift, Logo, Grafikdesign enthält.&#10;&#10;Automatisch generierte Beschreibung">
            <a:extLst>
              <a:ext uri="{FF2B5EF4-FFF2-40B4-BE49-F238E27FC236}">
                <a16:creationId xmlns:a16="http://schemas.microsoft.com/office/drawing/2014/main" id="{B4891515-97E2-D022-EA9D-6886E3769766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333308" y="4490388"/>
            <a:ext cx="1000800" cy="100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798351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0444A37-2AB6-4AAB-8226-AFAC31747F2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0444A37-2AB6-4AAB-8226-AFAC31747F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5151E6-97E0-4BE7-ACCA-C5EDC9DBE831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79376" y="2988241"/>
            <a:ext cx="11233150" cy="584775"/>
          </a:xfrm>
        </p:spPr>
        <p:txBody>
          <a:bodyPr vert="horz"/>
          <a:lstStyle/>
          <a:p>
            <a:r>
              <a:rPr lang="de-DE"/>
              <a:t>3. Entwicklungsprozess </a:t>
            </a:r>
          </a:p>
        </p:txBody>
      </p:sp>
      <p:sp>
        <p:nvSpPr>
          <p:cNvPr id="17" name="Datumsplatzhalter 16">
            <a:extLst>
              <a:ext uri="{FF2B5EF4-FFF2-40B4-BE49-F238E27FC236}">
                <a16:creationId xmlns:a16="http://schemas.microsoft.com/office/drawing/2014/main" id="{62978F16-156E-475B-93F3-EC654249A98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75904" y="6357711"/>
            <a:ext cx="720000" cy="138499"/>
          </a:xfrm>
        </p:spPr>
        <p:txBody>
          <a:bodyPr/>
          <a:lstStyle/>
          <a:p>
            <a:r>
              <a:rPr lang="de-DE" noProof="0"/>
              <a:t>17.07.2024</a:t>
            </a:r>
          </a:p>
        </p:txBody>
      </p:sp>
      <p:sp>
        <p:nvSpPr>
          <p:cNvPr id="18" name="Fußzeilenplatzhalter 17">
            <a:extLst>
              <a:ext uri="{FF2B5EF4-FFF2-40B4-BE49-F238E27FC236}">
                <a16:creationId xmlns:a16="http://schemas.microsoft.com/office/drawing/2014/main" id="{E377CD37-73BF-4BD4-B561-0511C3D50D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471" y="6357712"/>
            <a:ext cx="8640000" cy="138499"/>
          </a:xfrm>
        </p:spPr>
        <p:txBody>
          <a:bodyPr/>
          <a:lstStyle/>
          <a:p>
            <a:r>
              <a:rPr lang="de-DE" noProof="0"/>
              <a:t>Klassifizierung nicht vertraulich</a:t>
            </a:r>
          </a:p>
        </p:txBody>
      </p:sp>
      <p:sp>
        <p:nvSpPr>
          <p:cNvPr id="19" name="Foliennummernplatzhalter 18">
            <a:extLst>
              <a:ext uri="{FF2B5EF4-FFF2-40B4-BE49-F238E27FC236}">
                <a16:creationId xmlns:a16="http://schemas.microsoft.com/office/drawing/2014/main" id="{51FB477E-CF28-4B6C-A819-07BA4BA92B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2624" y="6357712"/>
            <a:ext cx="360000" cy="138499"/>
          </a:xfrm>
        </p:spPr>
        <p:txBody>
          <a:bodyPr/>
          <a:lstStyle/>
          <a:p>
            <a:fld id="{645586CC-6D24-4895-9441-71B1281C15CA}" type="slidenum">
              <a:rPr lang="de-DE" noProof="0" smtClean="0"/>
              <a:pPr/>
              <a:t>7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148933198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DBA0CDE-1E5F-49B4-909D-7020AB7C14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6DBA0CDE-1E5F-49B4-909D-7020AB7C14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27CC909-7103-480C-9257-B1E7EBFE3E07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1088740"/>
            <a:ext cx="11233150" cy="415498"/>
          </a:xfrm>
        </p:spPr>
        <p:txBody>
          <a:bodyPr vert="horz"/>
          <a:lstStyle/>
          <a:p>
            <a:r>
              <a:rPr lang="de-DE"/>
              <a:t>3. Entwicklungsprozess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2972672B-0DC7-4E21-AED7-23F9F9AA8194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479376" y="2348880"/>
            <a:ext cx="3908590" cy="3564000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de-DE" b="1">
                <a:ea typeface="Verdana"/>
              </a:rPr>
              <a:t>Vorgehen:</a:t>
            </a:r>
          </a:p>
          <a:p>
            <a:endParaRPr lang="de-DE" b="1">
              <a:ea typeface="Verdana"/>
            </a:endParaRPr>
          </a:p>
          <a:p>
            <a:pPr marL="342900" indent="-342900">
              <a:buAutoNum type="arabicPeriod"/>
            </a:pPr>
            <a:r>
              <a:rPr lang="de-DE">
                <a:ea typeface="Verdana"/>
              </a:rPr>
              <a:t>Design analysieren</a:t>
            </a:r>
          </a:p>
          <a:p>
            <a:pPr marL="342900" indent="-342900">
              <a:buAutoNum type="arabicPeriod"/>
            </a:pPr>
            <a:r>
              <a:rPr lang="de-DE">
                <a:ea typeface="Verdana"/>
              </a:rPr>
              <a:t>Funktionalitäten besprechen</a:t>
            </a:r>
          </a:p>
          <a:p>
            <a:pPr marL="342900" indent="-342900">
              <a:buAutoNum type="arabicPeriod"/>
            </a:pPr>
            <a:r>
              <a:rPr lang="de-DE">
                <a:ea typeface="Verdana"/>
              </a:rPr>
              <a:t>Implementierung</a:t>
            </a:r>
          </a:p>
          <a:p>
            <a:pPr marL="342900" indent="-342900">
              <a:buAutoNum type="arabicPeriod"/>
            </a:pPr>
            <a:r>
              <a:rPr lang="de-DE">
                <a:ea typeface="Verdana"/>
              </a:rPr>
              <a:t>Rücksprache mit Betreuer</a:t>
            </a:r>
          </a:p>
          <a:p>
            <a:pPr marL="342900" indent="-342900">
              <a:buAutoNum type="arabicPeriod"/>
            </a:pPr>
            <a:r>
              <a:rPr lang="de-DE">
                <a:ea typeface="Verdana"/>
              </a:rPr>
              <a:t>Zwischenstand speichern über Versionierungsplattform</a:t>
            </a:r>
          </a:p>
          <a:p>
            <a:pPr marL="342900" indent="-342900">
              <a:buAutoNum type="arabicPeriod"/>
            </a:pPr>
            <a:endParaRPr lang="de-DE">
              <a:ea typeface="Verdana"/>
            </a:endParaRPr>
          </a:p>
          <a:p>
            <a:pPr marL="342900" indent="-342900">
              <a:buAutoNum type="arabicPeriod"/>
            </a:pPr>
            <a:endParaRPr lang="de-DE">
              <a:ea typeface="Verdana"/>
            </a:endParaRP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6FE27A1-1DC4-49A0-9EBF-4021866DD01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79424" y="446475"/>
            <a:ext cx="9324988" cy="246221"/>
          </a:xfrm>
        </p:spPr>
        <p:txBody>
          <a:bodyPr/>
          <a:lstStyle/>
          <a:p>
            <a:r>
              <a:rPr lang="de-DE"/>
              <a:t>Frontend mit Angular: Entwicklungsprozess vom Design zur Websit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EBE327A-450A-4631-920C-80A1F0E4D3F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479424" y="1628800"/>
            <a:ext cx="11233150" cy="246221"/>
          </a:xfrm>
        </p:spPr>
        <p:txBody>
          <a:bodyPr/>
          <a:lstStyle/>
          <a:p>
            <a:r>
              <a:rPr lang="de-DE"/>
              <a:t>Ablaufdarstellung der Entwicklung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4B6A3F13-1E5E-40D0-B011-C9246813962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de-DE" noProof="0"/>
              <a:t>17.07.2024</a:t>
            </a:r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D8D8C577-6C4C-44CD-9D6F-E6479F0B05B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noProof="0"/>
              <a:t>Klassifizierung nicht vertraulich</a:t>
            </a: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866F31BE-AA15-44EF-AE80-F93764D8730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45586CC-6D24-4895-9441-71B1281C15CA}" type="slidenum">
              <a:rPr lang="de-DE" noProof="0" smtClean="0"/>
              <a:pPr/>
              <a:t>8</a:t>
            </a:fld>
            <a:endParaRPr lang="de-DE" noProof="0"/>
          </a:p>
        </p:txBody>
      </p:sp>
      <p:pic>
        <p:nvPicPr>
          <p:cNvPr id="8" name="Grafik 7" descr="Ein Bild, das Screenshot, Text, Grafiken, Diagramm enthält.&#10;&#10;Automatisch generierte Beschreibung">
            <a:extLst>
              <a:ext uri="{FF2B5EF4-FFF2-40B4-BE49-F238E27FC236}">
                <a16:creationId xmlns:a16="http://schemas.microsoft.com/office/drawing/2014/main" id="{11EFB1DD-BA08-B15C-E8D6-101A290570E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39816" y="1569271"/>
            <a:ext cx="6632346" cy="4417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243832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0444A37-2AB6-4AAB-8226-AFAC31747F2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0444A37-2AB6-4AAB-8226-AFAC31747F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5151E6-97E0-4BE7-ACCA-C5EDC9DBE831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79376" y="2988241"/>
            <a:ext cx="11233150" cy="584775"/>
          </a:xfrm>
        </p:spPr>
        <p:txBody>
          <a:bodyPr vert="horz"/>
          <a:lstStyle/>
          <a:p>
            <a:r>
              <a:rPr lang="de-DE"/>
              <a:t>4. Ergebnisse</a:t>
            </a:r>
          </a:p>
        </p:txBody>
      </p:sp>
      <p:sp>
        <p:nvSpPr>
          <p:cNvPr id="17" name="Datumsplatzhalter 16">
            <a:extLst>
              <a:ext uri="{FF2B5EF4-FFF2-40B4-BE49-F238E27FC236}">
                <a16:creationId xmlns:a16="http://schemas.microsoft.com/office/drawing/2014/main" id="{62978F16-156E-475B-93F3-EC654249A98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75904" y="6357711"/>
            <a:ext cx="720000" cy="138499"/>
          </a:xfrm>
        </p:spPr>
        <p:txBody>
          <a:bodyPr/>
          <a:lstStyle/>
          <a:p>
            <a:r>
              <a:rPr lang="de-DE" noProof="0"/>
              <a:t>17.07.2024</a:t>
            </a:r>
          </a:p>
        </p:txBody>
      </p:sp>
      <p:sp>
        <p:nvSpPr>
          <p:cNvPr id="18" name="Fußzeilenplatzhalter 17">
            <a:extLst>
              <a:ext uri="{FF2B5EF4-FFF2-40B4-BE49-F238E27FC236}">
                <a16:creationId xmlns:a16="http://schemas.microsoft.com/office/drawing/2014/main" id="{E377CD37-73BF-4BD4-B561-0511C3D50D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471" y="6357712"/>
            <a:ext cx="8640000" cy="138499"/>
          </a:xfrm>
        </p:spPr>
        <p:txBody>
          <a:bodyPr/>
          <a:lstStyle/>
          <a:p>
            <a:r>
              <a:rPr lang="de-DE" noProof="0"/>
              <a:t>Klassifizierung nicht vertraulich</a:t>
            </a:r>
          </a:p>
        </p:txBody>
      </p:sp>
      <p:sp>
        <p:nvSpPr>
          <p:cNvPr id="19" name="Foliennummernplatzhalter 18">
            <a:extLst>
              <a:ext uri="{FF2B5EF4-FFF2-40B4-BE49-F238E27FC236}">
                <a16:creationId xmlns:a16="http://schemas.microsoft.com/office/drawing/2014/main" id="{51FB477E-CF28-4B6C-A819-07BA4BA92B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2624" y="6357712"/>
            <a:ext cx="360000" cy="138499"/>
          </a:xfrm>
        </p:spPr>
        <p:txBody>
          <a:bodyPr/>
          <a:lstStyle/>
          <a:p>
            <a:fld id="{645586CC-6D24-4895-9441-71B1281C15CA}" type="slidenum">
              <a:rPr lang="de-DE" noProof="0" smtClean="0"/>
              <a:pPr/>
              <a:t>9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19264697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undesdruckerei">
  <a:themeElements>
    <a:clrScheme name="Bundesdruckerei 2022">
      <a:dk1>
        <a:srgbClr val="030044"/>
      </a:dk1>
      <a:lt1>
        <a:sysClr val="window" lastClr="FFFFFF"/>
      </a:lt1>
      <a:dk2>
        <a:srgbClr val="DADADA"/>
      </a:dk2>
      <a:lt2>
        <a:srgbClr val="575757"/>
      </a:lt2>
      <a:accent1>
        <a:srgbClr val="030044"/>
      </a:accent1>
      <a:accent2>
        <a:srgbClr val="1033A2"/>
      </a:accent2>
      <a:accent3>
        <a:srgbClr val="296EF5"/>
      </a:accent3>
      <a:accent4>
        <a:srgbClr val="A6C8FF"/>
      </a:accent4>
      <a:accent5>
        <a:srgbClr val="D0E2FF"/>
      </a:accent5>
      <a:accent6>
        <a:srgbClr val="878787"/>
      </a:accent6>
      <a:hlink>
        <a:srgbClr val="030044"/>
      </a:hlink>
      <a:folHlink>
        <a:srgbClr val="030044"/>
      </a:folHlink>
    </a:clrScheme>
    <a:fontScheme name="Bundesdruckerei 2022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t"/>
      <a:lstStyle>
        <a:defPPr marL="180000" indent="-180000" algn="l">
          <a:lnSpc>
            <a:spcPct val="107000"/>
          </a:lnSpc>
          <a:buFont typeface="Arial" panose="020B0604020202020204" pitchFamily="34" charset="0"/>
          <a:buChar char="•"/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80000" indent="-180000" algn="l">
          <a:lnSpc>
            <a:spcPct val="107000"/>
          </a:lnSpc>
          <a:buClr>
            <a:schemeClr val="accent3"/>
          </a:buClr>
          <a:buFont typeface="Arial" panose="020B0604020202020204" pitchFamily="34" charset="0"/>
          <a:buChar char="•"/>
          <a:defRPr sz="1400" dirty="0" err="1" smtClean="0"/>
        </a:defPPr>
      </a:lstStyle>
    </a:txDef>
  </a:objectDefaults>
  <a:extraClrSchemeLst/>
  <a:custClrLst>
    <a:custClr>
      <a:srgbClr val="00543C"/>
    </a:custClr>
    <a:custClr>
      <a:srgbClr val="00A073"/>
    </a:custClr>
    <a:custClr>
      <a:srgbClr val="33DBAB"/>
    </a:custClr>
    <a:custClr>
      <a:srgbClr val="8EDEC6"/>
    </a:custClr>
    <a:custClr>
      <a:srgbClr val="EDEDED"/>
    </a:custClr>
    <a:custClr>
      <a:srgbClr val="F6F6F6"/>
    </a:custClr>
    <a:custClr>
      <a:srgbClr val="FFC200"/>
    </a:custClr>
    <a:custClr>
      <a:srgbClr val="FF8C00"/>
    </a:custClr>
    <a:custClr>
      <a:srgbClr val="E60037"/>
    </a:custClr>
    <a:custClr>
      <a:srgbClr val="00D296"/>
    </a:custClr>
  </a:custClrLst>
  <a:extLst>
    <a:ext uri="{05A4C25C-085E-4340-85A3-A5531E510DB2}">
      <thm15:themeFamily xmlns:thm15="http://schemas.microsoft.com/office/thememl/2012/main" name="Präsentation1" id="{E5D0E77E-1D5C-4F4F-814E-4726BF8E0FDE}" vid="{70C8374C-03C3-43A7-9E1C-D06DD0CAC361}"/>
    </a:ext>
  </a:extLst>
</a:theme>
</file>

<file path=ppt/theme/theme2.xml><?xml version="1.0" encoding="utf-8"?>
<a:theme xmlns:a="http://schemas.openxmlformats.org/drawingml/2006/main" name="Office">
  <a:themeElements>
    <a:clrScheme name="Bundesdruckerei 2022">
      <a:dk1>
        <a:srgbClr val="030044"/>
      </a:dk1>
      <a:lt1>
        <a:sysClr val="window" lastClr="FFFFFF"/>
      </a:lt1>
      <a:dk2>
        <a:srgbClr val="DADADA"/>
      </a:dk2>
      <a:lt2>
        <a:srgbClr val="575757"/>
      </a:lt2>
      <a:accent1>
        <a:srgbClr val="030044"/>
      </a:accent1>
      <a:accent2>
        <a:srgbClr val="1033A2"/>
      </a:accent2>
      <a:accent3>
        <a:srgbClr val="296EF5"/>
      </a:accent3>
      <a:accent4>
        <a:srgbClr val="A6C8FF"/>
      </a:accent4>
      <a:accent5>
        <a:srgbClr val="D0E2FF"/>
      </a:accent5>
      <a:accent6>
        <a:srgbClr val="878787"/>
      </a:accent6>
      <a:hlink>
        <a:srgbClr val="030044"/>
      </a:hlink>
      <a:folHlink>
        <a:srgbClr val="030044"/>
      </a:folHlink>
    </a:clrScheme>
    <a:fontScheme name="Bundesdruckerei 2022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Bundesdruckerei 2022">
      <a:dk1>
        <a:srgbClr val="030044"/>
      </a:dk1>
      <a:lt1>
        <a:sysClr val="window" lastClr="FFFFFF"/>
      </a:lt1>
      <a:dk2>
        <a:srgbClr val="DADADA"/>
      </a:dk2>
      <a:lt2>
        <a:srgbClr val="575757"/>
      </a:lt2>
      <a:accent1>
        <a:srgbClr val="030044"/>
      </a:accent1>
      <a:accent2>
        <a:srgbClr val="1033A2"/>
      </a:accent2>
      <a:accent3>
        <a:srgbClr val="296EF5"/>
      </a:accent3>
      <a:accent4>
        <a:srgbClr val="A6C8FF"/>
      </a:accent4>
      <a:accent5>
        <a:srgbClr val="D0E2FF"/>
      </a:accent5>
      <a:accent6>
        <a:srgbClr val="878787"/>
      </a:accent6>
      <a:hlink>
        <a:srgbClr val="030044"/>
      </a:hlink>
      <a:folHlink>
        <a:srgbClr val="030044"/>
      </a:folHlink>
    </a:clrScheme>
    <a:fontScheme name="Bundesdruckerei 2022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A435AE1AA47D04B81F15A95B339D3A0" ma:contentTypeVersion="12" ma:contentTypeDescription="Ein neues Dokument erstellen." ma:contentTypeScope="" ma:versionID="733b96710e9c8263603c8550f8c744b7">
  <xsd:schema xmlns:xsd="http://www.w3.org/2001/XMLSchema" xmlns:xs="http://www.w3.org/2001/XMLSchema" xmlns:p="http://schemas.microsoft.com/office/2006/metadata/properties" xmlns:ns3="fb0b3e2e-d883-4624-8b52-08c6963578d5" xmlns:ns4="5567b404-df3c-4f96-84c4-33e9a72efe87" targetNamespace="http://schemas.microsoft.com/office/2006/metadata/properties" ma:root="true" ma:fieldsID="97f07274d8a9e62e1b2f0883988441a2" ns3:_="" ns4:_="">
    <xsd:import namespace="fb0b3e2e-d883-4624-8b52-08c6963578d5"/>
    <xsd:import namespace="5567b404-df3c-4f96-84c4-33e9a72efe87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ObjectDetectorVersions" minOccurs="0"/>
                <xsd:element ref="ns3:_activity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SearchProperties" minOccurs="0"/>
                <xsd:element ref="ns3:MediaServiceSystemTags" minOccurs="0"/>
                <xsd:element ref="ns3:MediaServiceGenerationTime" minOccurs="0"/>
                <xsd:element ref="ns3:MediaServiceEventHashCode" minOccurs="0"/>
                <xsd:element ref="ns3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b0b3e2e-d883-4624-8b52-08c6963578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_activity" ma:index="11" nillable="true" ma:displayName="_activity" ma:hidden="true" ma:internalName="_activity">
      <xsd:simpleType>
        <xsd:restriction base="dms:Note"/>
      </xsd:simpleType>
    </xsd:element>
    <xsd:element name="MediaServiceSearchProperties" ma:index="1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SystemTags" ma:index="16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567b404-df3c-4f96-84c4-33e9a72efe87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4" nillable="true" ma:displayName="Freigabehinweis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fb0b3e2e-d883-4624-8b52-08c6963578d5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90FD379-4D27-4DB8-BA99-DE646D8FE594}">
  <ds:schemaRefs>
    <ds:schemaRef ds:uri="5567b404-df3c-4f96-84c4-33e9a72efe87"/>
    <ds:schemaRef ds:uri="fb0b3e2e-d883-4624-8b52-08c6963578d5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08F20B89-4A80-4032-ADF3-209ED2E5620D}">
  <ds:schemaRefs>
    <ds:schemaRef ds:uri="5567b404-df3c-4f96-84c4-33e9a72efe87"/>
    <ds:schemaRef ds:uri="fb0b3e2e-d883-4624-8b52-08c6963578d5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D4F7FAC3-DB70-48A8-826A-2305C92D21D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T1_PP</Template>
  <TotalTime>0</TotalTime>
  <Words>377</Words>
  <Application>Microsoft Office PowerPoint</Application>
  <PresentationFormat>Breitbild</PresentationFormat>
  <Paragraphs>137</Paragraphs>
  <Slides>12</Slides>
  <Notes>1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2</vt:i4>
      </vt:variant>
    </vt:vector>
  </HeadingPairs>
  <TitlesOfParts>
    <vt:vector size="19" baseType="lpstr">
      <vt:lpstr>Arial</vt:lpstr>
      <vt:lpstr>Calibri</vt:lpstr>
      <vt:lpstr>Calibri,Sans-Serif</vt:lpstr>
      <vt:lpstr>Courier New</vt:lpstr>
      <vt:lpstr>Courier New,monospace</vt:lpstr>
      <vt:lpstr>Verdana</vt:lpstr>
      <vt:lpstr>bundesdruckerei</vt:lpstr>
      <vt:lpstr>Frontend mit Angular: Entwicklungsprozess vom Design zur Website</vt:lpstr>
      <vt:lpstr>Gliederung</vt:lpstr>
      <vt:lpstr>1. Problemstellung</vt:lpstr>
      <vt:lpstr>1. Problemstellung </vt:lpstr>
      <vt:lpstr>2. Randbedingungen</vt:lpstr>
      <vt:lpstr>2. Randbedingungen </vt:lpstr>
      <vt:lpstr>3. Entwicklungsprozess </vt:lpstr>
      <vt:lpstr>3. Entwicklungsprozess</vt:lpstr>
      <vt:lpstr>4. Ergebnisse</vt:lpstr>
      <vt:lpstr>5. Fazit &amp; Ausblick</vt:lpstr>
      <vt:lpstr>5. Fazit &amp; Ausblick</vt:lpstr>
      <vt:lpstr>PowerPoint-Präsentation</vt:lpstr>
    </vt:vector>
  </TitlesOfParts>
  <Manager>Name Nachname</Manager>
  <Company>Bundesdruckerei Gmb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Zweizeilige Headline  in Verdana Fett 38pt</dc:title>
  <dc:subject/>
  <dc:creator>Leuthardt, Theo</dc:creator>
  <dc:description>PowerPoint Vorlage optimiert für Office 2016 und 365</dc:description>
  <cp:lastModifiedBy>Theo Leuthardt</cp:lastModifiedBy>
  <cp:revision>1</cp:revision>
  <dcterms:created xsi:type="dcterms:W3CDTF">2024-02-26T09:20:24Z</dcterms:created>
  <dcterms:modified xsi:type="dcterms:W3CDTF">2024-07-15T18:28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A435AE1AA47D04B81F15A95B339D3A0</vt:lpwstr>
  </property>
  <property fmtid="{D5CDD505-2E9C-101B-9397-08002B2CF9AE}" pid="3" name="_dlc_DocIdItemGuid">
    <vt:lpwstr>d1cf551c-44f9-4d78-9ecf-54e89471d8d2</vt:lpwstr>
  </property>
  <property fmtid="{D5CDD505-2E9C-101B-9397-08002B2CF9AE}" pid="4" name="ClassificationContentMarkingFooterText">
    <vt:lpwstr>Internal - Intern</vt:lpwstr>
  </property>
</Properties>
</file>